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764" r:id="rId4"/>
  </p:sldMasterIdLst>
  <p:notesMasterIdLst>
    <p:notesMasterId r:id="rId14"/>
  </p:notesMasterIdLst>
  <p:handoutMasterIdLst>
    <p:handoutMasterId r:id="rId15"/>
  </p:handoutMasterIdLst>
  <p:sldIdLst>
    <p:sldId id="511" r:id="rId5"/>
    <p:sldId id="528" r:id="rId6"/>
    <p:sldId id="529" r:id="rId7"/>
    <p:sldId id="526" r:id="rId8"/>
    <p:sldId id="525" r:id="rId9"/>
    <p:sldId id="512" r:id="rId10"/>
    <p:sldId id="527" r:id="rId11"/>
    <p:sldId id="513" r:id="rId12"/>
    <p:sldId id="514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46">
          <p15:clr>
            <a:srgbClr val="A4A3A4"/>
          </p15:clr>
        </p15:guide>
        <p15:guide id="2" orient="horz" pos="1140">
          <p15:clr>
            <a:srgbClr val="A4A3A4"/>
          </p15:clr>
        </p15:guide>
        <p15:guide id="3" orient="horz" pos="393">
          <p15:clr>
            <a:srgbClr val="A4A3A4"/>
          </p15:clr>
        </p15:guide>
        <p15:guide id="4" orient="horz" pos="6">
          <p15:clr>
            <a:srgbClr val="A4A3A4"/>
          </p15:clr>
        </p15:guide>
        <p15:guide id="5" orient="horz" pos="1443">
          <p15:clr>
            <a:srgbClr val="A4A3A4"/>
          </p15:clr>
        </p15:guide>
        <p15:guide id="6" orient="horz" pos="3474">
          <p15:clr>
            <a:srgbClr val="A4A3A4"/>
          </p15:clr>
        </p15:guide>
        <p15:guide id="7" orient="horz" pos="1643">
          <p15:clr>
            <a:srgbClr val="A4A3A4"/>
          </p15:clr>
        </p15:guide>
        <p15:guide id="8" pos="3840">
          <p15:clr>
            <a:srgbClr val="A4A3A4"/>
          </p15:clr>
        </p15:guide>
        <p15:guide id="9" pos="531">
          <p15:clr>
            <a:srgbClr val="A4A3A4"/>
          </p15:clr>
        </p15:guide>
        <p15:guide id="10" pos="715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BAB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338" autoAdjust="0"/>
    <p:restoredTop sz="94698" autoAdjust="0"/>
  </p:normalViewPr>
  <p:slideViewPr>
    <p:cSldViewPr snapToGrid="0">
      <p:cViewPr>
        <p:scale>
          <a:sx n="125" d="100"/>
          <a:sy n="125" d="100"/>
        </p:scale>
        <p:origin x="240" y="-198"/>
      </p:cViewPr>
      <p:guideLst>
        <p:guide orient="horz" pos="3946"/>
        <p:guide orient="horz" pos="1140"/>
        <p:guide orient="horz" pos="393"/>
        <p:guide orient="horz" pos="6"/>
        <p:guide orient="horz" pos="1443"/>
        <p:guide orient="horz" pos="3474"/>
        <p:guide orient="horz" pos="1643"/>
        <p:guide pos="3840"/>
        <p:guide pos="531"/>
        <p:guide pos="715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-362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ED16BE-B278-4E6B-9CBD-AE54C287074A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485F7B-A596-49AC-99B8-DF033A19B8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7542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29A96B-77D0-4C0C-A828-00B52CE528A9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9F7D27-1E9F-4B58-82B9-4C7B6AC10E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883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1C25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800" y="1677600"/>
            <a:ext cx="10512000" cy="925200"/>
          </a:xfrm>
        </p:spPr>
        <p:txBody>
          <a:bodyPr anchor="b" anchorCtr="0"/>
          <a:lstStyle>
            <a:lvl1pPr algn="l">
              <a:defRPr sz="6000" b="0" cap="all" baseline="0">
                <a:solidFill>
                  <a:srgbClr val="FFFFFF"/>
                </a:solidFill>
              </a:defRPr>
            </a:lvl1pPr>
          </a:lstStyle>
          <a:p>
            <a:r>
              <a:rPr lang="en-US" altLang="zh-CN" noProof="0" dirty="0"/>
              <a:t>headline only one-line</a:t>
            </a:r>
            <a:endParaRPr lang="en-US" noProof="0" dirty="0"/>
          </a:p>
        </p:txBody>
      </p:sp>
      <p:cxnSp>
        <p:nvCxnSpPr>
          <p:cNvPr id="7" name="Gerader Verbinder 29">
            <a:extLst>
              <a:ext uri="{FF2B5EF4-FFF2-40B4-BE49-F238E27FC236}">
                <a16:creationId xmlns:a16="http://schemas.microsoft.com/office/drawing/2014/main" id="{66A96147-0063-49C3-886C-03E1000DD659}"/>
              </a:ext>
            </a:extLst>
          </p:cNvPr>
          <p:cNvCxnSpPr>
            <a:cxnSpLocks/>
          </p:cNvCxnSpPr>
          <p:nvPr/>
        </p:nvCxnSpPr>
        <p:spPr>
          <a:xfrm flipV="1">
            <a:off x="695274" y="1722018"/>
            <a:ext cx="0" cy="2388174"/>
          </a:xfrm>
          <a:prstGeom prst="line">
            <a:avLst/>
          </a:prstGeom>
          <a:ln w="19050">
            <a:solidFill>
              <a:srgbClr val="DB0A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33">
            <a:extLst>
              <a:ext uri="{FF2B5EF4-FFF2-40B4-BE49-F238E27FC236}">
                <a16:creationId xmlns:a16="http://schemas.microsoft.com/office/drawing/2014/main" id="{DC929088-5A22-49BC-A8D1-0F381BAD135F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3883626" y="5277925"/>
            <a:ext cx="4354046" cy="1000336"/>
            <a:chOff x="-108" y="106"/>
            <a:chExt cx="4296" cy="987"/>
          </a:xfrm>
        </p:grpSpPr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34B8A6D5-E1FE-4E33-882B-0D26A3D69A45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344" y="106"/>
              <a:ext cx="779" cy="536"/>
            </a:xfrm>
            <a:custGeom>
              <a:avLst/>
              <a:gdLst>
                <a:gd name="T0" fmla="*/ 458 w 476"/>
                <a:gd name="T1" fmla="*/ 111 h 327"/>
                <a:gd name="T2" fmla="*/ 284 w 476"/>
                <a:gd name="T3" fmla="*/ 285 h 327"/>
                <a:gd name="T4" fmla="*/ 199 w 476"/>
                <a:gd name="T5" fmla="*/ 285 h 327"/>
                <a:gd name="T6" fmla="*/ 51 w 476"/>
                <a:gd name="T7" fmla="*/ 136 h 327"/>
                <a:gd name="T8" fmla="*/ 51 w 476"/>
                <a:gd name="T9" fmla="*/ 51 h 327"/>
                <a:gd name="T10" fmla="*/ 136 w 476"/>
                <a:gd name="T11" fmla="*/ 51 h 327"/>
                <a:gd name="T12" fmla="*/ 242 w 476"/>
                <a:gd name="T13" fmla="*/ 157 h 327"/>
                <a:gd name="T14" fmla="*/ 348 w 476"/>
                <a:gd name="T15" fmla="*/ 51 h 327"/>
                <a:gd name="T16" fmla="*/ 433 w 476"/>
                <a:gd name="T17" fmla="*/ 51 h 327"/>
                <a:gd name="T18" fmla="*/ 458 w 476"/>
                <a:gd name="T19" fmla="*/ 76 h 327"/>
                <a:gd name="T20" fmla="*/ 476 w 476"/>
                <a:gd name="T21" fmla="*/ 59 h 327"/>
                <a:gd name="T22" fmla="*/ 451 w 476"/>
                <a:gd name="T23" fmla="*/ 34 h 327"/>
                <a:gd name="T24" fmla="*/ 331 w 476"/>
                <a:gd name="T25" fmla="*/ 34 h 327"/>
                <a:gd name="T26" fmla="*/ 242 w 476"/>
                <a:gd name="T27" fmla="*/ 122 h 327"/>
                <a:gd name="T28" fmla="*/ 153 w 476"/>
                <a:gd name="T29" fmla="*/ 34 h 327"/>
                <a:gd name="T30" fmla="*/ 33 w 476"/>
                <a:gd name="T31" fmla="*/ 34 h 327"/>
                <a:gd name="T32" fmla="*/ 33 w 476"/>
                <a:gd name="T33" fmla="*/ 154 h 327"/>
                <a:gd name="T34" fmla="*/ 182 w 476"/>
                <a:gd name="T35" fmla="*/ 302 h 327"/>
                <a:gd name="T36" fmla="*/ 242 w 476"/>
                <a:gd name="T37" fmla="*/ 327 h 327"/>
                <a:gd name="T38" fmla="*/ 302 w 476"/>
                <a:gd name="T39" fmla="*/ 302 h 327"/>
                <a:gd name="T40" fmla="*/ 476 w 476"/>
                <a:gd name="T41" fmla="*/ 129 h 327"/>
                <a:gd name="T42" fmla="*/ 458 w 476"/>
                <a:gd name="T43" fmla="*/ 1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6" h="327">
                  <a:moveTo>
                    <a:pt x="458" y="111"/>
                  </a:moveTo>
                  <a:cubicBezTo>
                    <a:pt x="284" y="285"/>
                    <a:pt x="284" y="285"/>
                    <a:pt x="284" y="285"/>
                  </a:cubicBezTo>
                  <a:cubicBezTo>
                    <a:pt x="261" y="308"/>
                    <a:pt x="223" y="308"/>
                    <a:pt x="199" y="285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27" y="113"/>
                    <a:pt x="27" y="75"/>
                    <a:pt x="51" y="51"/>
                  </a:cubicBezTo>
                  <a:cubicBezTo>
                    <a:pt x="74" y="28"/>
                    <a:pt x="112" y="28"/>
                    <a:pt x="136" y="51"/>
                  </a:cubicBezTo>
                  <a:cubicBezTo>
                    <a:pt x="242" y="157"/>
                    <a:pt x="242" y="157"/>
                    <a:pt x="242" y="157"/>
                  </a:cubicBezTo>
                  <a:cubicBezTo>
                    <a:pt x="348" y="51"/>
                    <a:pt x="348" y="51"/>
                    <a:pt x="348" y="51"/>
                  </a:cubicBezTo>
                  <a:cubicBezTo>
                    <a:pt x="372" y="28"/>
                    <a:pt x="410" y="28"/>
                    <a:pt x="433" y="51"/>
                  </a:cubicBezTo>
                  <a:cubicBezTo>
                    <a:pt x="458" y="76"/>
                    <a:pt x="458" y="76"/>
                    <a:pt x="458" y="76"/>
                  </a:cubicBezTo>
                  <a:cubicBezTo>
                    <a:pt x="476" y="59"/>
                    <a:pt x="476" y="59"/>
                    <a:pt x="476" y="59"/>
                  </a:cubicBezTo>
                  <a:cubicBezTo>
                    <a:pt x="451" y="34"/>
                    <a:pt x="451" y="34"/>
                    <a:pt x="451" y="34"/>
                  </a:cubicBezTo>
                  <a:cubicBezTo>
                    <a:pt x="418" y="0"/>
                    <a:pt x="364" y="0"/>
                    <a:pt x="331" y="34"/>
                  </a:cubicBezTo>
                  <a:cubicBezTo>
                    <a:pt x="242" y="122"/>
                    <a:pt x="242" y="122"/>
                    <a:pt x="242" y="122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20" y="0"/>
                    <a:pt x="66" y="0"/>
                    <a:pt x="33" y="34"/>
                  </a:cubicBezTo>
                  <a:cubicBezTo>
                    <a:pt x="0" y="67"/>
                    <a:pt x="0" y="121"/>
                    <a:pt x="33" y="154"/>
                  </a:cubicBezTo>
                  <a:cubicBezTo>
                    <a:pt x="182" y="302"/>
                    <a:pt x="182" y="302"/>
                    <a:pt x="182" y="302"/>
                  </a:cubicBezTo>
                  <a:cubicBezTo>
                    <a:pt x="198" y="319"/>
                    <a:pt x="220" y="327"/>
                    <a:pt x="242" y="327"/>
                  </a:cubicBezTo>
                  <a:cubicBezTo>
                    <a:pt x="264" y="327"/>
                    <a:pt x="285" y="319"/>
                    <a:pt x="302" y="302"/>
                  </a:cubicBezTo>
                  <a:cubicBezTo>
                    <a:pt x="476" y="129"/>
                    <a:pt x="476" y="129"/>
                    <a:pt x="476" y="129"/>
                  </a:cubicBezTo>
                  <a:lnTo>
                    <a:pt x="458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ED406E36-81F1-410B-A51B-A1FF084AD36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936" y="106"/>
              <a:ext cx="778" cy="551"/>
            </a:xfrm>
            <a:custGeom>
              <a:avLst/>
              <a:gdLst>
                <a:gd name="T0" fmla="*/ 443 w 476"/>
                <a:gd name="T1" fmla="*/ 182 h 336"/>
                <a:gd name="T2" fmla="*/ 294 w 476"/>
                <a:gd name="T3" fmla="*/ 34 h 336"/>
                <a:gd name="T4" fmla="*/ 174 w 476"/>
                <a:gd name="T5" fmla="*/ 34 h 336"/>
                <a:gd name="T6" fmla="*/ 114 w 476"/>
                <a:gd name="T7" fmla="*/ 94 h 336"/>
                <a:gd name="T8" fmla="*/ 131 w 476"/>
                <a:gd name="T9" fmla="*/ 111 h 336"/>
                <a:gd name="T10" fmla="*/ 191 w 476"/>
                <a:gd name="T11" fmla="*/ 51 h 336"/>
                <a:gd name="T12" fmla="*/ 276 w 476"/>
                <a:gd name="T13" fmla="*/ 51 h 336"/>
                <a:gd name="T14" fmla="*/ 425 w 476"/>
                <a:gd name="T15" fmla="*/ 200 h 336"/>
                <a:gd name="T16" fmla="*/ 425 w 476"/>
                <a:gd name="T17" fmla="*/ 285 h 336"/>
                <a:gd name="T18" fmla="*/ 340 w 476"/>
                <a:gd name="T19" fmla="*/ 285 h 336"/>
                <a:gd name="T20" fmla="*/ 234 w 476"/>
                <a:gd name="T21" fmla="*/ 179 h 336"/>
                <a:gd name="T22" fmla="*/ 128 w 476"/>
                <a:gd name="T23" fmla="*/ 285 h 336"/>
                <a:gd name="T24" fmla="*/ 43 w 476"/>
                <a:gd name="T25" fmla="*/ 285 h 336"/>
                <a:gd name="T26" fmla="*/ 18 w 476"/>
                <a:gd name="T27" fmla="*/ 260 h 336"/>
                <a:gd name="T28" fmla="*/ 0 w 476"/>
                <a:gd name="T29" fmla="*/ 277 h 336"/>
                <a:gd name="T30" fmla="*/ 25 w 476"/>
                <a:gd name="T31" fmla="*/ 302 h 336"/>
                <a:gd name="T32" fmla="*/ 145 w 476"/>
                <a:gd name="T33" fmla="*/ 302 h 336"/>
                <a:gd name="T34" fmla="*/ 234 w 476"/>
                <a:gd name="T35" fmla="*/ 214 h 336"/>
                <a:gd name="T36" fmla="*/ 323 w 476"/>
                <a:gd name="T37" fmla="*/ 302 h 336"/>
                <a:gd name="T38" fmla="*/ 443 w 476"/>
                <a:gd name="T39" fmla="*/ 302 h 336"/>
                <a:gd name="T40" fmla="*/ 443 w 476"/>
                <a:gd name="T41" fmla="*/ 18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6" h="336">
                  <a:moveTo>
                    <a:pt x="443" y="182"/>
                  </a:moveTo>
                  <a:cubicBezTo>
                    <a:pt x="294" y="34"/>
                    <a:pt x="294" y="34"/>
                    <a:pt x="294" y="34"/>
                  </a:cubicBezTo>
                  <a:cubicBezTo>
                    <a:pt x="261" y="0"/>
                    <a:pt x="207" y="0"/>
                    <a:pt x="174" y="34"/>
                  </a:cubicBezTo>
                  <a:cubicBezTo>
                    <a:pt x="114" y="94"/>
                    <a:pt x="114" y="94"/>
                    <a:pt x="114" y="94"/>
                  </a:cubicBezTo>
                  <a:cubicBezTo>
                    <a:pt x="131" y="111"/>
                    <a:pt x="131" y="111"/>
                    <a:pt x="131" y="111"/>
                  </a:cubicBezTo>
                  <a:cubicBezTo>
                    <a:pt x="191" y="51"/>
                    <a:pt x="191" y="51"/>
                    <a:pt x="191" y="51"/>
                  </a:cubicBezTo>
                  <a:cubicBezTo>
                    <a:pt x="215" y="28"/>
                    <a:pt x="253" y="28"/>
                    <a:pt x="276" y="51"/>
                  </a:cubicBezTo>
                  <a:cubicBezTo>
                    <a:pt x="425" y="200"/>
                    <a:pt x="425" y="200"/>
                    <a:pt x="425" y="200"/>
                  </a:cubicBezTo>
                  <a:cubicBezTo>
                    <a:pt x="449" y="223"/>
                    <a:pt x="449" y="261"/>
                    <a:pt x="425" y="285"/>
                  </a:cubicBezTo>
                  <a:cubicBezTo>
                    <a:pt x="402" y="308"/>
                    <a:pt x="364" y="308"/>
                    <a:pt x="340" y="285"/>
                  </a:cubicBezTo>
                  <a:cubicBezTo>
                    <a:pt x="234" y="179"/>
                    <a:pt x="234" y="179"/>
                    <a:pt x="234" y="179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04" y="308"/>
                    <a:pt x="66" y="308"/>
                    <a:pt x="43" y="285"/>
                  </a:cubicBezTo>
                  <a:cubicBezTo>
                    <a:pt x="18" y="260"/>
                    <a:pt x="18" y="260"/>
                    <a:pt x="18" y="26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25" y="302"/>
                    <a:pt x="25" y="302"/>
                    <a:pt x="25" y="302"/>
                  </a:cubicBezTo>
                  <a:cubicBezTo>
                    <a:pt x="58" y="336"/>
                    <a:pt x="112" y="336"/>
                    <a:pt x="145" y="302"/>
                  </a:cubicBezTo>
                  <a:cubicBezTo>
                    <a:pt x="234" y="214"/>
                    <a:pt x="234" y="214"/>
                    <a:pt x="234" y="214"/>
                  </a:cubicBezTo>
                  <a:cubicBezTo>
                    <a:pt x="323" y="302"/>
                    <a:pt x="323" y="302"/>
                    <a:pt x="323" y="302"/>
                  </a:cubicBezTo>
                  <a:cubicBezTo>
                    <a:pt x="356" y="336"/>
                    <a:pt x="410" y="336"/>
                    <a:pt x="443" y="302"/>
                  </a:cubicBezTo>
                  <a:cubicBezTo>
                    <a:pt x="476" y="269"/>
                    <a:pt x="476" y="215"/>
                    <a:pt x="443" y="182"/>
                  </a:cubicBezTo>
                </a:path>
              </a:pathLst>
            </a:custGeom>
            <a:solidFill>
              <a:srgbClr val="57C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6">
              <a:extLst>
                <a:ext uri="{FF2B5EF4-FFF2-40B4-BE49-F238E27FC236}">
                  <a16:creationId xmlns:a16="http://schemas.microsoft.com/office/drawing/2014/main" id="{FEBC38E9-106A-487C-82C0-6C8DD3C45C4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-108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3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3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7">
              <a:extLst>
                <a:ext uri="{FF2B5EF4-FFF2-40B4-BE49-F238E27FC236}">
                  <a16:creationId xmlns:a16="http://schemas.microsoft.com/office/drawing/2014/main" id="{8AC8391A-0AD9-450C-A7CC-60CF12940C5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3705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4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4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8">
              <a:extLst>
                <a:ext uri="{FF2B5EF4-FFF2-40B4-BE49-F238E27FC236}">
                  <a16:creationId xmlns:a16="http://schemas.microsoft.com/office/drawing/2014/main" id="{686F84EF-87DF-4071-A53C-87920EC2C12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38" y="870"/>
              <a:ext cx="251" cy="219"/>
            </a:xfrm>
            <a:custGeom>
              <a:avLst/>
              <a:gdLst>
                <a:gd name="T0" fmla="*/ 126 w 251"/>
                <a:gd name="T1" fmla="*/ 62 h 219"/>
                <a:gd name="T2" fmla="*/ 162 w 251"/>
                <a:gd name="T3" fmla="*/ 142 h 219"/>
                <a:gd name="T4" fmla="*/ 90 w 251"/>
                <a:gd name="T5" fmla="*/ 142 h 219"/>
                <a:gd name="T6" fmla="*/ 126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4 w 251"/>
                <a:gd name="T13" fmla="*/ 219 h 219"/>
                <a:gd name="T14" fmla="*/ 72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4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6" y="62"/>
                  </a:moveTo>
                  <a:lnTo>
                    <a:pt x="162" y="142"/>
                  </a:lnTo>
                  <a:lnTo>
                    <a:pt x="90" y="142"/>
                  </a:lnTo>
                  <a:lnTo>
                    <a:pt x="126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4" y="219"/>
                  </a:lnTo>
                  <a:lnTo>
                    <a:pt x="72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4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9">
              <a:extLst>
                <a:ext uri="{FF2B5EF4-FFF2-40B4-BE49-F238E27FC236}">
                  <a16:creationId xmlns:a16="http://schemas.microsoft.com/office/drawing/2014/main" id="{19A18E62-6005-429E-9752-6E87AF45003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590" y="870"/>
              <a:ext cx="251" cy="219"/>
            </a:xfrm>
            <a:custGeom>
              <a:avLst/>
              <a:gdLst>
                <a:gd name="T0" fmla="*/ 125 w 251"/>
                <a:gd name="T1" fmla="*/ 62 h 219"/>
                <a:gd name="T2" fmla="*/ 161 w 251"/>
                <a:gd name="T3" fmla="*/ 142 h 219"/>
                <a:gd name="T4" fmla="*/ 89 w 251"/>
                <a:gd name="T5" fmla="*/ 142 h 219"/>
                <a:gd name="T6" fmla="*/ 125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3 w 251"/>
                <a:gd name="T13" fmla="*/ 219 h 219"/>
                <a:gd name="T14" fmla="*/ 71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5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5" y="62"/>
                  </a:moveTo>
                  <a:lnTo>
                    <a:pt x="161" y="142"/>
                  </a:lnTo>
                  <a:lnTo>
                    <a:pt x="89" y="142"/>
                  </a:lnTo>
                  <a:lnTo>
                    <a:pt x="125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3" y="219"/>
                  </a:lnTo>
                  <a:lnTo>
                    <a:pt x="71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5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0">
              <a:extLst>
                <a:ext uri="{FF2B5EF4-FFF2-40B4-BE49-F238E27FC236}">
                  <a16:creationId xmlns:a16="http://schemas.microsoft.com/office/drawing/2014/main" id="{9E9F9551-139E-410C-A1A8-5B31625FCE43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443" y="870"/>
              <a:ext cx="164" cy="219"/>
            </a:xfrm>
            <a:custGeom>
              <a:avLst/>
              <a:gdLst>
                <a:gd name="T0" fmla="*/ 0 w 164"/>
                <a:gd name="T1" fmla="*/ 0 h 219"/>
                <a:gd name="T2" fmla="*/ 0 w 164"/>
                <a:gd name="T3" fmla="*/ 219 h 219"/>
                <a:gd name="T4" fmla="*/ 164 w 164"/>
                <a:gd name="T5" fmla="*/ 219 h 219"/>
                <a:gd name="T6" fmla="*/ 164 w 164"/>
                <a:gd name="T7" fmla="*/ 177 h 219"/>
                <a:gd name="T8" fmla="*/ 51 w 164"/>
                <a:gd name="T9" fmla="*/ 177 h 219"/>
                <a:gd name="T10" fmla="*/ 51 w 164"/>
                <a:gd name="T11" fmla="*/ 0 h 219"/>
                <a:gd name="T12" fmla="*/ 0 w 164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219">
                  <a:moveTo>
                    <a:pt x="0" y="0"/>
                  </a:moveTo>
                  <a:lnTo>
                    <a:pt x="0" y="219"/>
                  </a:lnTo>
                  <a:lnTo>
                    <a:pt x="164" y="219"/>
                  </a:lnTo>
                  <a:lnTo>
                    <a:pt x="164" y="177"/>
                  </a:lnTo>
                  <a:lnTo>
                    <a:pt x="51" y="177"/>
                  </a:lnTo>
                  <a:lnTo>
                    <a:pt x="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1">
              <a:extLst>
                <a:ext uri="{FF2B5EF4-FFF2-40B4-BE49-F238E27FC236}">
                  <a16:creationId xmlns:a16="http://schemas.microsoft.com/office/drawing/2014/main" id="{3F34F5CE-7B03-4BB8-8EDD-ADAFAB0C397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667" y="870"/>
              <a:ext cx="259" cy="219"/>
            </a:xfrm>
            <a:custGeom>
              <a:avLst/>
              <a:gdLst>
                <a:gd name="T0" fmla="*/ 218 w 259"/>
                <a:gd name="T1" fmla="*/ 0 h 219"/>
                <a:gd name="T2" fmla="*/ 130 w 259"/>
                <a:gd name="T3" fmla="*/ 75 h 219"/>
                <a:gd name="T4" fmla="*/ 41 w 259"/>
                <a:gd name="T5" fmla="*/ 0 h 219"/>
                <a:gd name="T6" fmla="*/ 0 w 259"/>
                <a:gd name="T7" fmla="*/ 0 h 219"/>
                <a:gd name="T8" fmla="*/ 0 w 259"/>
                <a:gd name="T9" fmla="*/ 219 h 219"/>
                <a:gd name="T10" fmla="*/ 49 w 259"/>
                <a:gd name="T11" fmla="*/ 219 h 219"/>
                <a:gd name="T12" fmla="*/ 49 w 259"/>
                <a:gd name="T13" fmla="*/ 69 h 219"/>
                <a:gd name="T14" fmla="*/ 130 w 259"/>
                <a:gd name="T15" fmla="*/ 136 h 219"/>
                <a:gd name="T16" fmla="*/ 208 w 259"/>
                <a:gd name="T17" fmla="*/ 69 h 219"/>
                <a:gd name="T18" fmla="*/ 208 w 259"/>
                <a:gd name="T19" fmla="*/ 219 h 219"/>
                <a:gd name="T20" fmla="*/ 257 w 259"/>
                <a:gd name="T21" fmla="*/ 219 h 219"/>
                <a:gd name="T22" fmla="*/ 259 w 259"/>
                <a:gd name="T23" fmla="*/ 0 h 219"/>
                <a:gd name="T24" fmla="*/ 218 w 259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219">
                  <a:moveTo>
                    <a:pt x="218" y="0"/>
                  </a:moveTo>
                  <a:lnTo>
                    <a:pt x="130" y="75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30" y="136"/>
                  </a:lnTo>
                  <a:lnTo>
                    <a:pt x="208" y="69"/>
                  </a:lnTo>
                  <a:lnTo>
                    <a:pt x="208" y="219"/>
                  </a:lnTo>
                  <a:lnTo>
                    <a:pt x="257" y="219"/>
                  </a:lnTo>
                  <a:lnTo>
                    <a:pt x="259" y="0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2">
              <a:extLst>
                <a:ext uri="{FF2B5EF4-FFF2-40B4-BE49-F238E27FC236}">
                  <a16:creationId xmlns:a16="http://schemas.microsoft.com/office/drawing/2014/main" id="{9409561A-9856-4E9D-8BF3-8D561C13F96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2723" y="870"/>
              <a:ext cx="258" cy="219"/>
            </a:xfrm>
            <a:custGeom>
              <a:avLst/>
              <a:gdLst>
                <a:gd name="T0" fmla="*/ 217 w 258"/>
                <a:gd name="T1" fmla="*/ 0 h 219"/>
                <a:gd name="T2" fmla="*/ 129 w 258"/>
                <a:gd name="T3" fmla="*/ 75 h 219"/>
                <a:gd name="T4" fmla="*/ 40 w 258"/>
                <a:gd name="T5" fmla="*/ 0 h 219"/>
                <a:gd name="T6" fmla="*/ 0 w 258"/>
                <a:gd name="T7" fmla="*/ 0 h 219"/>
                <a:gd name="T8" fmla="*/ 0 w 258"/>
                <a:gd name="T9" fmla="*/ 219 h 219"/>
                <a:gd name="T10" fmla="*/ 49 w 258"/>
                <a:gd name="T11" fmla="*/ 219 h 219"/>
                <a:gd name="T12" fmla="*/ 49 w 258"/>
                <a:gd name="T13" fmla="*/ 69 h 219"/>
                <a:gd name="T14" fmla="*/ 129 w 258"/>
                <a:gd name="T15" fmla="*/ 136 h 219"/>
                <a:gd name="T16" fmla="*/ 207 w 258"/>
                <a:gd name="T17" fmla="*/ 69 h 219"/>
                <a:gd name="T18" fmla="*/ 207 w 258"/>
                <a:gd name="T19" fmla="*/ 219 h 219"/>
                <a:gd name="T20" fmla="*/ 256 w 258"/>
                <a:gd name="T21" fmla="*/ 219 h 219"/>
                <a:gd name="T22" fmla="*/ 258 w 258"/>
                <a:gd name="T23" fmla="*/ 0 h 219"/>
                <a:gd name="T24" fmla="*/ 217 w 258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219">
                  <a:moveTo>
                    <a:pt x="217" y="0"/>
                  </a:moveTo>
                  <a:lnTo>
                    <a:pt x="129" y="75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29" y="136"/>
                  </a:lnTo>
                  <a:lnTo>
                    <a:pt x="207" y="69"/>
                  </a:lnTo>
                  <a:lnTo>
                    <a:pt x="207" y="219"/>
                  </a:lnTo>
                  <a:lnTo>
                    <a:pt x="256" y="219"/>
                  </a:lnTo>
                  <a:lnTo>
                    <a:pt x="258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DCD5E529-D408-48BD-B9FF-BD9E6CDD96AC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4" y="870"/>
              <a:ext cx="183" cy="219"/>
            </a:xfrm>
            <a:custGeom>
              <a:avLst/>
              <a:gdLst>
                <a:gd name="T0" fmla="*/ 0 w 183"/>
                <a:gd name="T1" fmla="*/ 0 h 219"/>
                <a:gd name="T2" fmla="*/ 0 w 183"/>
                <a:gd name="T3" fmla="*/ 219 h 219"/>
                <a:gd name="T4" fmla="*/ 183 w 183"/>
                <a:gd name="T5" fmla="*/ 219 h 219"/>
                <a:gd name="T6" fmla="*/ 183 w 183"/>
                <a:gd name="T7" fmla="*/ 177 h 219"/>
                <a:gd name="T8" fmla="*/ 51 w 183"/>
                <a:gd name="T9" fmla="*/ 177 h 219"/>
                <a:gd name="T10" fmla="*/ 51 w 183"/>
                <a:gd name="T11" fmla="*/ 128 h 219"/>
                <a:gd name="T12" fmla="*/ 170 w 183"/>
                <a:gd name="T13" fmla="*/ 128 h 219"/>
                <a:gd name="T14" fmla="*/ 170 w 183"/>
                <a:gd name="T15" fmla="*/ 87 h 219"/>
                <a:gd name="T16" fmla="*/ 51 w 183"/>
                <a:gd name="T17" fmla="*/ 87 h 219"/>
                <a:gd name="T18" fmla="*/ 51 w 183"/>
                <a:gd name="T19" fmla="*/ 41 h 219"/>
                <a:gd name="T20" fmla="*/ 182 w 183"/>
                <a:gd name="T21" fmla="*/ 41 h 219"/>
                <a:gd name="T22" fmla="*/ 182 w 183"/>
                <a:gd name="T23" fmla="*/ 0 h 219"/>
                <a:gd name="T24" fmla="*/ 0 w 183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9">
                  <a:moveTo>
                    <a:pt x="0" y="0"/>
                  </a:moveTo>
                  <a:lnTo>
                    <a:pt x="0" y="219"/>
                  </a:lnTo>
                  <a:lnTo>
                    <a:pt x="183" y="219"/>
                  </a:lnTo>
                  <a:lnTo>
                    <a:pt x="183" y="177"/>
                  </a:lnTo>
                  <a:lnTo>
                    <a:pt x="51" y="177"/>
                  </a:lnTo>
                  <a:lnTo>
                    <a:pt x="51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51" y="87"/>
                  </a:lnTo>
                  <a:lnTo>
                    <a:pt x="51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D71DF575-12BE-49EC-A380-C96DA00A2C6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4004" y="870"/>
              <a:ext cx="184" cy="219"/>
            </a:xfrm>
            <a:custGeom>
              <a:avLst/>
              <a:gdLst>
                <a:gd name="T0" fmla="*/ 0 w 184"/>
                <a:gd name="T1" fmla="*/ 0 h 219"/>
                <a:gd name="T2" fmla="*/ 0 w 184"/>
                <a:gd name="T3" fmla="*/ 219 h 219"/>
                <a:gd name="T4" fmla="*/ 184 w 184"/>
                <a:gd name="T5" fmla="*/ 219 h 219"/>
                <a:gd name="T6" fmla="*/ 184 w 184"/>
                <a:gd name="T7" fmla="*/ 177 h 219"/>
                <a:gd name="T8" fmla="*/ 49 w 184"/>
                <a:gd name="T9" fmla="*/ 177 h 219"/>
                <a:gd name="T10" fmla="*/ 49 w 184"/>
                <a:gd name="T11" fmla="*/ 128 h 219"/>
                <a:gd name="T12" fmla="*/ 170 w 184"/>
                <a:gd name="T13" fmla="*/ 128 h 219"/>
                <a:gd name="T14" fmla="*/ 170 w 184"/>
                <a:gd name="T15" fmla="*/ 87 h 219"/>
                <a:gd name="T16" fmla="*/ 49 w 184"/>
                <a:gd name="T17" fmla="*/ 87 h 219"/>
                <a:gd name="T18" fmla="*/ 49 w 184"/>
                <a:gd name="T19" fmla="*/ 41 h 219"/>
                <a:gd name="T20" fmla="*/ 182 w 184"/>
                <a:gd name="T21" fmla="*/ 41 h 219"/>
                <a:gd name="T22" fmla="*/ 182 w 184"/>
                <a:gd name="T23" fmla="*/ 0 h 219"/>
                <a:gd name="T24" fmla="*/ 0 w 184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19">
                  <a:moveTo>
                    <a:pt x="0" y="0"/>
                  </a:moveTo>
                  <a:lnTo>
                    <a:pt x="0" y="219"/>
                  </a:lnTo>
                  <a:lnTo>
                    <a:pt x="184" y="219"/>
                  </a:lnTo>
                  <a:lnTo>
                    <a:pt x="184" y="177"/>
                  </a:lnTo>
                  <a:lnTo>
                    <a:pt x="49" y="177"/>
                  </a:lnTo>
                  <a:lnTo>
                    <a:pt x="49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49" y="87"/>
                  </a:lnTo>
                  <a:lnTo>
                    <a:pt x="49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5">
              <a:extLst>
                <a:ext uri="{FF2B5EF4-FFF2-40B4-BE49-F238E27FC236}">
                  <a16:creationId xmlns:a16="http://schemas.microsoft.com/office/drawing/2014/main" id="{17E7052B-D48C-4117-B350-AF315B2969CD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231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5 w 218"/>
                <a:gd name="T5" fmla="*/ 41 h 219"/>
                <a:gd name="T6" fmla="*/ 85 w 218"/>
                <a:gd name="T7" fmla="*/ 219 h 219"/>
                <a:gd name="T8" fmla="*/ 135 w 218"/>
                <a:gd name="T9" fmla="*/ 219 h 219"/>
                <a:gd name="T10" fmla="*/ 135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5" y="219"/>
                  </a:lnTo>
                  <a:lnTo>
                    <a:pt x="135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6">
              <a:extLst>
                <a:ext uri="{FF2B5EF4-FFF2-40B4-BE49-F238E27FC236}">
                  <a16:creationId xmlns:a16="http://schemas.microsoft.com/office/drawing/2014/main" id="{4AD80EA1-CE60-4D9F-8F36-EFA8A6D1C02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2160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4 w 218"/>
                <a:gd name="T5" fmla="*/ 41 h 219"/>
                <a:gd name="T6" fmla="*/ 84 w 218"/>
                <a:gd name="T7" fmla="*/ 219 h 219"/>
                <a:gd name="T8" fmla="*/ 134 w 218"/>
                <a:gd name="T9" fmla="*/ 219 h 219"/>
                <a:gd name="T10" fmla="*/ 134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4" y="41"/>
                  </a:lnTo>
                  <a:lnTo>
                    <a:pt x="84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7">
              <a:extLst>
                <a:ext uri="{FF2B5EF4-FFF2-40B4-BE49-F238E27FC236}">
                  <a16:creationId xmlns:a16="http://schemas.microsoft.com/office/drawing/2014/main" id="{0D8D8F7D-EC5C-447B-A786-B9F9A63E8439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3324" y="870"/>
              <a:ext cx="219" cy="219"/>
            </a:xfrm>
            <a:custGeom>
              <a:avLst/>
              <a:gdLst>
                <a:gd name="T0" fmla="*/ 0 w 219"/>
                <a:gd name="T1" fmla="*/ 0 h 219"/>
                <a:gd name="T2" fmla="*/ 0 w 219"/>
                <a:gd name="T3" fmla="*/ 41 h 219"/>
                <a:gd name="T4" fmla="*/ 85 w 219"/>
                <a:gd name="T5" fmla="*/ 41 h 219"/>
                <a:gd name="T6" fmla="*/ 85 w 219"/>
                <a:gd name="T7" fmla="*/ 219 h 219"/>
                <a:gd name="T8" fmla="*/ 134 w 219"/>
                <a:gd name="T9" fmla="*/ 219 h 219"/>
                <a:gd name="T10" fmla="*/ 134 w 219"/>
                <a:gd name="T11" fmla="*/ 41 h 219"/>
                <a:gd name="T12" fmla="*/ 219 w 219"/>
                <a:gd name="T13" fmla="*/ 41 h 219"/>
                <a:gd name="T14" fmla="*/ 219 w 219"/>
                <a:gd name="T15" fmla="*/ 0 h 219"/>
                <a:gd name="T16" fmla="*/ 0 w 219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9" y="41"/>
                  </a:lnTo>
                  <a:lnTo>
                    <a:pt x="2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8">
              <a:extLst>
                <a:ext uri="{FF2B5EF4-FFF2-40B4-BE49-F238E27FC236}">
                  <a16:creationId xmlns:a16="http://schemas.microsoft.com/office/drawing/2014/main" id="{A91CCEF4-E422-4B43-B48D-981780A0959F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882" y="870"/>
              <a:ext cx="224" cy="223"/>
            </a:xfrm>
            <a:custGeom>
              <a:avLst/>
              <a:gdLst>
                <a:gd name="T0" fmla="*/ 106 w 137"/>
                <a:gd name="T1" fmla="*/ 0 h 136"/>
                <a:gd name="T2" fmla="*/ 137 w 137"/>
                <a:gd name="T3" fmla="*/ 0 h 136"/>
                <a:gd name="T4" fmla="*/ 137 w 137"/>
                <a:gd name="T5" fmla="*/ 70 h 136"/>
                <a:gd name="T6" fmla="*/ 68 w 137"/>
                <a:gd name="T7" fmla="*/ 136 h 136"/>
                <a:gd name="T8" fmla="*/ 0 w 137"/>
                <a:gd name="T9" fmla="*/ 70 h 136"/>
                <a:gd name="T10" fmla="*/ 0 w 137"/>
                <a:gd name="T11" fmla="*/ 0 h 136"/>
                <a:gd name="T12" fmla="*/ 30 w 137"/>
                <a:gd name="T13" fmla="*/ 0 h 136"/>
                <a:gd name="T14" fmla="*/ 30 w 137"/>
                <a:gd name="T15" fmla="*/ 70 h 136"/>
                <a:gd name="T16" fmla="*/ 68 w 137"/>
                <a:gd name="T17" fmla="*/ 111 h 136"/>
                <a:gd name="T18" fmla="*/ 106 w 137"/>
                <a:gd name="T19" fmla="*/ 70 h 136"/>
                <a:gd name="T20" fmla="*/ 106 w 137"/>
                <a:gd name="T2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36">
                  <a:moveTo>
                    <a:pt x="106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113"/>
                    <a:pt x="110" y="136"/>
                    <a:pt x="68" y="136"/>
                  </a:cubicBezTo>
                  <a:cubicBezTo>
                    <a:pt x="27" y="136"/>
                    <a:pt x="0" y="113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97"/>
                    <a:pt x="44" y="111"/>
                    <a:pt x="68" y="111"/>
                  </a:cubicBezTo>
                  <a:cubicBezTo>
                    <a:pt x="93" y="111"/>
                    <a:pt x="106" y="97"/>
                    <a:pt x="106" y="70"/>
                  </a:cubicBez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9">
              <a:extLst>
                <a:ext uri="{FF2B5EF4-FFF2-40B4-BE49-F238E27FC236}">
                  <a16:creationId xmlns:a16="http://schemas.microsoft.com/office/drawing/2014/main" id="{BEF3CE1F-798F-4DA2-8351-D705F9B966DF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2412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5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5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50">
              <a:extLst>
                <a:ext uri="{FF2B5EF4-FFF2-40B4-BE49-F238E27FC236}">
                  <a16:creationId xmlns:a16="http://schemas.microsoft.com/office/drawing/2014/main" id="{6CE08B1E-E506-40EE-B633-3E11BAB70417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3048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4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4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51">
              <a:extLst>
                <a:ext uri="{FF2B5EF4-FFF2-40B4-BE49-F238E27FC236}">
                  <a16:creationId xmlns:a16="http://schemas.microsoft.com/office/drawing/2014/main" id="{94328786-E996-499D-A025-87EFDDC0771E}"/>
                </a:ext>
              </a:extLst>
            </p:cNvPr>
            <p:cNvSpPr>
              <a:spLocks noChangeArrowheads="1"/>
            </p:cNvSpPr>
            <p:nvPr/>
          </p:nvSpPr>
          <p:spPr bwMode="invGray">
            <a:xfrm>
              <a:off x="3599" y="870"/>
              <a:ext cx="51" cy="2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F59555-AF6D-47D2-97DA-29D4A0BFD2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800" y="3816000"/>
            <a:ext cx="10512000" cy="215444"/>
          </a:xfrm>
        </p:spPr>
        <p:txBody>
          <a:bodyPr lIns="0" tIns="0" rIns="0" bIns="0" anchor="b" anchorCtr="0">
            <a:sp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GB"/>
              <a:t>Date-Author</a:t>
            </a:r>
            <a:endParaRPr lang="en-US"/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04D125FD-C6A3-4BFC-8204-B1FF6CD894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2526131"/>
            <a:ext cx="10512424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4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subtitle</a:t>
            </a:r>
            <a:endParaRPr lang="de-DE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800" y="107845"/>
            <a:ext cx="2880000" cy="1538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cap="all" baseline="0">
                <a:noFill/>
              </a:defRPr>
            </a:lvl1pPr>
          </a:lstStyle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7765836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CD0EB2-3491-4323-B8E4-D77C06A94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1808163"/>
            <a:ext cx="3384141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297113"/>
            <a:ext cx="3384141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Text level 1</a:t>
            </a:r>
          </a:p>
          <a:p>
            <a:pPr lvl="2"/>
            <a:r>
              <a:rPr lang="en-US" noProof="0" dirty="0"/>
              <a:t>Text level 2</a:t>
            </a:r>
          </a:p>
          <a:p>
            <a:pPr lvl="3"/>
            <a:r>
              <a:rPr lang="en-US" noProof="0" dirty="0"/>
              <a:t>Text level 3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03932" y="1808163"/>
            <a:ext cx="3384141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DB7DDEBB-9104-486D-AA09-35E3E95688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3932" y="2297113"/>
            <a:ext cx="3384141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68073" y="1808163"/>
            <a:ext cx="3384141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54016E6E-961D-4579-B9CE-7A2329F42B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68073" y="2297113"/>
            <a:ext cx="3384141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17BB60-1198-481B-BAA1-1792ECB1211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7DD5A0-7499-4C6F-A745-62D7B18801A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53021569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CD0EB2-3491-4323-B8E4-D77C06A94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201" y="1808163"/>
            <a:ext cx="24588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297113"/>
            <a:ext cx="24588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Text level 1</a:t>
            </a:r>
          </a:p>
          <a:p>
            <a:pPr lvl="2"/>
            <a:r>
              <a:rPr lang="en-US" noProof="0" dirty="0"/>
              <a:t>Text level 2</a:t>
            </a:r>
          </a:p>
          <a:p>
            <a:pPr lvl="3"/>
            <a:r>
              <a:rPr lang="en-US" noProof="0" dirty="0"/>
              <a:t>Text level 3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24400" y="1808163"/>
            <a:ext cx="24588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DB7DDEBB-9104-486D-AA09-35E3E95688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24000" y="2297113"/>
            <a:ext cx="24588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0000" y="1808163"/>
            <a:ext cx="24588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54016E6E-961D-4579-B9CE-7A2329F42B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9800" y="2297113"/>
            <a:ext cx="24588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17BB60-1198-481B-BAA1-1792ECB1211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7DD5A0-7499-4C6F-A745-62D7B18801A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CA2C92E-D678-4117-8E2D-4E76CFDA999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95600" y="1801969"/>
            <a:ext cx="24588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0CC61D33-B8EC-46F2-92CD-221EDDF0B1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5600" y="2290919"/>
            <a:ext cx="24588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</p:spTree>
    <p:extLst>
      <p:ext uri="{BB962C8B-B14F-4D97-AF65-F5344CB8AC3E}">
        <p14:creationId xmlns:p14="http://schemas.microsoft.com/office/powerpoint/2010/main" val="8668649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8060B112-888F-4809-839A-9F13BB5AF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808163"/>
            <a:ext cx="6710362" cy="43088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35AC77-AC49-424E-A722-9905B460DD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97114"/>
            <a:ext cx="6706633" cy="39671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8185150" y="2297114"/>
            <a:ext cx="3176271" cy="1092607"/>
          </a:xfrm>
        </p:spPr>
        <p:txBody>
          <a:bodyPr>
            <a:sp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7840279" y="2266950"/>
            <a:ext cx="150627" cy="3996531"/>
            <a:chOff x="7840279" y="2266950"/>
            <a:chExt cx="150627" cy="3996531"/>
          </a:xfrm>
        </p:grpSpPr>
        <p:cxnSp>
          <p:nvCxnSpPr>
            <p:cNvPr id="30" name="Gerade Verbindung 29"/>
            <p:cNvCxnSpPr/>
            <p:nvPr/>
          </p:nvCxnSpPr>
          <p:spPr bwMode="gray">
            <a:xfrm>
              <a:off x="7890311" y="2266950"/>
              <a:ext cx="0" cy="3996531"/>
            </a:xfrm>
            <a:prstGeom prst="line">
              <a:avLst/>
            </a:prstGeom>
            <a:ln w="19050">
              <a:solidFill>
                <a:srgbClr val="C7C7C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uppieren 2"/>
            <p:cNvGrpSpPr/>
            <p:nvPr/>
          </p:nvGrpSpPr>
          <p:grpSpPr bwMode="gray">
            <a:xfrm>
              <a:off x="7840279" y="3905216"/>
              <a:ext cx="150627" cy="720000"/>
              <a:chOff x="7840279" y="3507388"/>
              <a:chExt cx="150627" cy="720000"/>
            </a:xfrm>
          </p:grpSpPr>
          <p:sp>
            <p:nvSpPr>
              <p:cNvPr id="31" name="Rechteck 30"/>
              <p:cNvSpPr/>
              <p:nvPr/>
            </p:nvSpPr>
            <p:spPr bwMode="gray">
              <a:xfrm>
                <a:off x="7840279" y="3507388"/>
                <a:ext cx="108000" cy="720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noProof="0" dirty="0"/>
              </a:p>
            </p:txBody>
          </p:sp>
          <p:sp>
            <p:nvSpPr>
              <p:cNvPr id="32" name="Gleichschenkliges Dreieck 3">
                <a:extLst>
                  <a:ext uri="{FF2B5EF4-FFF2-40B4-BE49-F238E27FC236}">
                    <a16:creationId xmlns:a16="http://schemas.microsoft.com/office/drawing/2014/main" id="{02929422-C7C3-4934-8095-7C322EF71B8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 rot="5400000">
                <a:off x="7760609" y="3817091"/>
                <a:ext cx="360000" cy="100595"/>
              </a:xfrm>
              <a:custGeom>
                <a:avLst/>
                <a:gdLst>
                  <a:gd name="connsiteX0" fmla="*/ 0 w 736284"/>
                  <a:gd name="connsiteY0" fmla="*/ 205740 h 205740"/>
                  <a:gd name="connsiteX1" fmla="*/ 368142 w 736284"/>
                  <a:gd name="connsiteY1" fmla="*/ 0 h 205740"/>
                  <a:gd name="connsiteX2" fmla="*/ 736284 w 736284"/>
                  <a:gd name="connsiteY2" fmla="*/ 205740 h 205740"/>
                  <a:gd name="connsiteX3" fmla="*/ 0 w 736284"/>
                  <a:gd name="connsiteY3" fmla="*/ 205740 h 205740"/>
                  <a:gd name="connsiteX0" fmla="*/ 0 w 736284"/>
                  <a:gd name="connsiteY0" fmla="*/ 205740 h 216218"/>
                  <a:gd name="connsiteX1" fmla="*/ 368142 w 736284"/>
                  <a:gd name="connsiteY1" fmla="*/ 0 h 216218"/>
                  <a:gd name="connsiteX2" fmla="*/ 736284 w 736284"/>
                  <a:gd name="connsiteY2" fmla="*/ 205740 h 216218"/>
                  <a:gd name="connsiteX3" fmla="*/ 365760 w 736284"/>
                  <a:gd name="connsiteY3" fmla="*/ 216218 h 216218"/>
                  <a:gd name="connsiteX4" fmla="*/ 0 w 736284"/>
                  <a:gd name="connsiteY4" fmla="*/ 205740 h 216218"/>
                  <a:gd name="connsiteX0" fmla="*/ 365760 w 736284"/>
                  <a:gd name="connsiteY0" fmla="*/ 216218 h 307658"/>
                  <a:gd name="connsiteX1" fmla="*/ 0 w 736284"/>
                  <a:gd name="connsiteY1" fmla="*/ 205740 h 307658"/>
                  <a:gd name="connsiteX2" fmla="*/ 368142 w 736284"/>
                  <a:gd name="connsiteY2" fmla="*/ 0 h 307658"/>
                  <a:gd name="connsiteX3" fmla="*/ 736284 w 736284"/>
                  <a:gd name="connsiteY3" fmla="*/ 205740 h 307658"/>
                  <a:gd name="connsiteX4" fmla="*/ 457200 w 736284"/>
                  <a:gd name="connsiteY4" fmla="*/ 307658 h 307658"/>
                  <a:gd name="connsiteX0" fmla="*/ 365760 w 736284"/>
                  <a:gd name="connsiteY0" fmla="*/ 216218 h 216218"/>
                  <a:gd name="connsiteX1" fmla="*/ 0 w 736284"/>
                  <a:gd name="connsiteY1" fmla="*/ 205740 h 216218"/>
                  <a:gd name="connsiteX2" fmla="*/ 368142 w 736284"/>
                  <a:gd name="connsiteY2" fmla="*/ 0 h 216218"/>
                  <a:gd name="connsiteX3" fmla="*/ 736284 w 736284"/>
                  <a:gd name="connsiteY3" fmla="*/ 205740 h 216218"/>
                  <a:gd name="connsiteX0" fmla="*/ 0 w 736284"/>
                  <a:gd name="connsiteY0" fmla="*/ 205740 h 205740"/>
                  <a:gd name="connsiteX1" fmla="*/ 368142 w 736284"/>
                  <a:gd name="connsiteY1" fmla="*/ 0 h 205740"/>
                  <a:gd name="connsiteX2" fmla="*/ 736284 w 736284"/>
                  <a:gd name="connsiteY2" fmla="*/ 205740 h 205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6284" h="205740">
                    <a:moveTo>
                      <a:pt x="0" y="205740"/>
                    </a:moveTo>
                    <a:lnTo>
                      <a:pt x="368142" y="0"/>
                    </a:lnTo>
                    <a:lnTo>
                      <a:pt x="736284" y="205740"/>
                    </a:lnTo>
                  </a:path>
                </a:pathLst>
              </a:custGeom>
              <a:noFill/>
              <a:ln w="38100" cap="rnd">
                <a:solidFill>
                  <a:srgbClr val="0642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5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1F9B4F-C902-48AB-A493-36205B4B25D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7938E3D-A464-4FB6-AA33-23AB979BB5A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83308146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Conclusio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1D79E03-25D9-4EE4-B48E-DB7214E48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9" y="1808163"/>
            <a:ext cx="6710362" cy="43088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CA9C221-4857-4D38-89AC-B18B28D607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97113"/>
            <a:ext cx="6706633" cy="32178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8185150" y="2297113"/>
            <a:ext cx="3176271" cy="1092607"/>
          </a:xfrm>
        </p:spPr>
        <p:txBody>
          <a:bodyPr>
            <a:sp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33" name="Ellipse 2"/>
          <p:cNvSpPr/>
          <p:nvPr/>
        </p:nvSpPr>
        <p:spPr>
          <a:xfrm>
            <a:off x="838200" y="5664135"/>
            <a:ext cx="10515600" cy="599346"/>
          </a:xfrm>
          <a:custGeom>
            <a:avLst/>
            <a:gdLst/>
            <a:ahLst/>
            <a:cxnLst/>
            <a:rect l="l" t="t" r="r" b="b"/>
            <a:pathLst>
              <a:path w="10530019" h="599346">
                <a:moveTo>
                  <a:pt x="0" y="0"/>
                </a:moveTo>
                <a:lnTo>
                  <a:pt x="10230346" y="0"/>
                </a:lnTo>
                <a:cubicBezTo>
                  <a:pt x="10395851" y="0"/>
                  <a:pt x="10530019" y="134168"/>
                  <a:pt x="10530019" y="299673"/>
                </a:cubicBezTo>
                <a:cubicBezTo>
                  <a:pt x="10530019" y="465178"/>
                  <a:pt x="10395851" y="599346"/>
                  <a:pt x="10230346" y="599346"/>
                </a:cubicBezTo>
                <a:lnTo>
                  <a:pt x="0" y="599346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rgbClr val="DB0A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/>
          <a:lstStyle/>
          <a:p>
            <a:pPr lvl="0"/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5664135"/>
            <a:ext cx="10515600" cy="599346"/>
          </a:xfrm>
        </p:spPr>
        <p:txBody>
          <a:bodyPr lIns="108000" tIns="72000" rIns="72000" bIns="72000"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DB0A33"/>
                </a:solidFill>
              </a:defRPr>
            </a:lvl1pPr>
            <a:lvl2pPr marL="180000" indent="0">
              <a:buNone/>
              <a:defRPr>
                <a:solidFill>
                  <a:schemeClr val="accent1"/>
                </a:solidFill>
              </a:defRPr>
            </a:lvl2pPr>
            <a:lvl3pPr marL="360000" indent="0">
              <a:buNone/>
              <a:defRPr>
                <a:solidFill>
                  <a:schemeClr val="accent1"/>
                </a:solidFill>
              </a:defRPr>
            </a:lvl3pPr>
            <a:lvl4pPr marL="540000" indent="0">
              <a:buNone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noProof="0"/>
              <a:t>Click to edit text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4BEC10-3BE1-4BFE-A4B0-9EBFAF825B3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7FF39D-CD1D-4EE8-9AA4-8CE34786F92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94598974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Conclusion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Ellipse 2"/>
          <p:cNvSpPr/>
          <p:nvPr/>
        </p:nvSpPr>
        <p:spPr>
          <a:xfrm>
            <a:off x="838200" y="5664135"/>
            <a:ext cx="10515600" cy="599346"/>
          </a:xfrm>
          <a:custGeom>
            <a:avLst/>
            <a:gdLst/>
            <a:ahLst/>
            <a:cxnLst/>
            <a:rect l="l" t="t" r="r" b="b"/>
            <a:pathLst>
              <a:path w="10530019" h="599346">
                <a:moveTo>
                  <a:pt x="0" y="0"/>
                </a:moveTo>
                <a:lnTo>
                  <a:pt x="10230346" y="0"/>
                </a:lnTo>
                <a:cubicBezTo>
                  <a:pt x="10395851" y="0"/>
                  <a:pt x="10530019" y="134168"/>
                  <a:pt x="10530019" y="299673"/>
                </a:cubicBezTo>
                <a:cubicBezTo>
                  <a:pt x="10530019" y="465178"/>
                  <a:pt x="10395851" y="599346"/>
                  <a:pt x="10230346" y="599346"/>
                </a:cubicBezTo>
                <a:lnTo>
                  <a:pt x="0" y="599346"/>
                </a:lnTo>
                <a:close/>
              </a:path>
            </a:pathLst>
          </a:cu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72000" bIns="72000" rtlCol="0" anchor="ctr"/>
          <a:lstStyle/>
          <a:p>
            <a:pPr lvl="0"/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05540B-1661-4961-9C48-4C7C1C978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90" y="1808163"/>
            <a:ext cx="4916171" cy="43088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DB98A7D-D115-4B64-A62F-F3A16DF79B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97113"/>
            <a:ext cx="4916172" cy="32178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6445250" y="2297113"/>
            <a:ext cx="4916171" cy="1092607"/>
          </a:xfrm>
        </p:spPr>
        <p:txBody>
          <a:bodyPr>
            <a:spAutoFit/>
          </a:bodyPr>
          <a:lstStyle/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5664135"/>
            <a:ext cx="10515600" cy="599346"/>
          </a:xfrm>
          <a:ln>
            <a:noFill/>
          </a:ln>
        </p:spPr>
        <p:txBody>
          <a:bodyPr lIns="108000" tIns="72000" rIns="72000" bIns="72000" anchor="ctr"/>
          <a:lstStyle>
            <a:lvl1pPr marL="0" indent="0">
              <a:spcBef>
                <a:spcPts val="0"/>
              </a:spcBef>
              <a:buNone/>
              <a:defRPr sz="1400">
                <a:solidFill>
                  <a:srgbClr val="DB0A33"/>
                </a:solidFill>
              </a:defRPr>
            </a:lvl1pPr>
            <a:lvl2pPr marL="180000" indent="0">
              <a:buNone/>
              <a:defRPr>
                <a:solidFill>
                  <a:schemeClr val="accent1"/>
                </a:solidFill>
              </a:defRPr>
            </a:lvl2pPr>
            <a:lvl3pPr marL="360000" indent="0">
              <a:buNone/>
              <a:defRPr>
                <a:solidFill>
                  <a:schemeClr val="accent1"/>
                </a:solidFill>
              </a:defRPr>
            </a:lvl3pPr>
            <a:lvl4pPr marL="540000" indent="0">
              <a:buNone/>
              <a:defRPr>
                <a:solidFill>
                  <a:schemeClr val="accent1"/>
                </a:solidFill>
              </a:defRPr>
            </a:lvl4pPr>
          </a:lstStyle>
          <a:p>
            <a:pPr lvl="0"/>
            <a:r>
              <a:rPr lang="en-US" noProof="0" dirty="0"/>
              <a:t>Click to edit text</a:t>
            </a:r>
          </a:p>
        </p:txBody>
      </p:sp>
      <p:sp>
        <p:nvSpPr>
          <p:cNvPr id="2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A86426-8A9B-45F6-843F-CBE29094C1C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A6D32B-4659-4650-84D2-DEEEC275DBB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11484369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3FE9FC0-713D-4AE7-A432-64E44D0EA4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166218"/>
            <a:ext cx="681228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05239CEA-F4E9-47C1-987A-D52E399971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808164"/>
            <a:ext cx="681228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noProof="0" dirty="0"/>
              <a:t>text</a:t>
            </a:r>
          </a:p>
          <a:p>
            <a:pPr lvl="1"/>
            <a:r>
              <a:rPr lang="en-US" dirty="0"/>
              <a:t>Text level 1</a:t>
            </a:r>
          </a:p>
          <a:p>
            <a:pPr lvl="2"/>
            <a:r>
              <a:rPr lang="en-US" dirty="0"/>
              <a:t>Text level 2</a:t>
            </a:r>
          </a:p>
          <a:p>
            <a:pPr lvl="3"/>
            <a:r>
              <a:rPr lang="en-US" dirty="0"/>
              <a:t>Text level 3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42DC829-1DA0-4582-8947-C1680D6D61B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772400" y="0"/>
            <a:ext cx="4419600" cy="68580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6273800"/>
            <a:ext cx="681228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C94675-8348-4D7B-BDBD-E90289B8B0BD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649501-1818-43FE-B103-40BE52D1900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4764416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4D2176E-C668-4A52-B166-43669941D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1166218"/>
            <a:ext cx="681228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05239CEA-F4E9-47C1-987A-D52E399971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808163"/>
            <a:ext cx="681228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Text level 1</a:t>
            </a:r>
          </a:p>
          <a:p>
            <a:pPr lvl="2"/>
            <a:r>
              <a:rPr lang="en-US" noProof="0" dirty="0"/>
              <a:t>Text level 2</a:t>
            </a:r>
          </a:p>
          <a:p>
            <a:pPr lvl="3"/>
            <a:r>
              <a:rPr lang="en-US" noProof="0" dirty="0"/>
              <a:t>Text level 3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42DC829-1DA0-4582-8947-C1680D6D61B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772400" y="0"/>
            <a:ext cx="4419600" cy="34290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 1</a:t>
            </a:r>
          </a:p>
        </p:txBody>
      </p:sp>
      <p:sp>
        <p:nvSpPr>
          <p:cNvPr id="14" name="Bildplatzhalter 2">
            <a:extLst>
              <a:ext uri="{FF2B5EF4-FFF2-40B4-BE49-F238E27FC236}">
                <a16:creationId xmlns:a16="http://schemas.microsoft.com/office/drawing/2014/main" id="{87101AD5-AB26-46DA-BBD0-F8BD68F8D2B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772400" y="3429000"/>
            <a:ext cx="4419600" cy="34290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 2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6273800"/>
            <a:ext cx="681228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84801E-EE5C-4A12-8AF7-2AEB38468CD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C7F767-AB82-492D-AC7B-3E35DBEDFF7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7862324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24E0A25-5570-4534-B194-56710D15E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05239CEA-F4E9-47C1-987A-D52E399971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808163"/>
            <a:ext cx="10514013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42DC829-1DA0-4582-8947-C1680D6D61B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39789" y="4038600"/>
            <a:ext cx="3784071" cy="22352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 1</a:t>
            </a:r>
          </a:p>
        </p:txBody>
      </p:sp>
      <p:sp>
        <p:nvSpPr>
          <p:cNvPr id="21" name="Bildplatzhalter 2">
            <a:extLst>
              <a:ext uri="{FF2B5EF4-FFF2-40B4-BE49-F238E27FC236}">
                <a16:creationId xmlns:a16="http://schemas.microsoft.com/office/drawing/2014/main" id="{92CC62AB-E1B7-45D5-AE00-52B8BF0540B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23860" y="4038600"/>
            <a:ext cx="3784071" cy="22352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 2</a:t>
            </a:r>
          </a:p>
        </p:txBody>
      </p:sp>
      <p:sp>
        <p:nvSpPr>
          <p:cNvPr id="22" name="Bildplatzhalter 2">
            <a:extLst>
              <a:ext uri="{FF2B5EF4-FFF2-40B4-BE49-F238E27FC236}">
                <a16:creationId xmlns:a16="http://schemas.microsoft.com/office/drawing/2014/main" id="{F80A6E74-F690-4CF3-BEA1-6F4F8651522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07930" y="4038600"/>
            <a:ext cx="3784071" cy="2235200"/>
          </a:xfrm>
          <a:solidFill>
            <a:srgbClr val="F4F4F4"/>
          </a:solidFill>
        </p:spPr>
        <p:txBody>
          <a:bodyPr anchor="ctr">
            <a:noAutofit/>
          </a:bodyPr>
          <a:lstStyle>
            <a:lvl1pPr marL="0" indent="0" algn="ctr">
              <a:buNone/>
              <a:defRPr b="1">
                <a:solidFill>
                  <a:srgbClr val="DB0A33"/>
                </a:solidFill>
              </a:defRPr>
            </a:lvl1pPr>
          </a:lstStyle>
          <a:p>
            <a:r>
              <a:rPr lang="en-US" noProof="0"/>
              <a:t>PICTURE 3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838200" y="6273800"/>
            <a:ext cx="10514013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96280CB-E68F-49F4-93ED-E48CE1F6F53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7BAFA-657D-4259-8B15-C91E50C1723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16778465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Date-Author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0540729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CEEF61-AD4F-40F3-AA01-6BA8CCE6B8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799" y="6408000"/>
            <a:ext cx="4680000" cy="123111"/>
          </a:xfrm>
        </p:spPr>
        <p:txBody>
          <a:bodyPr anchor="b" anchorCtr="0">
            <a:spAutoFit/>
          </a:bodyPr>
          <a:lstStyle>
            <a:lvl1pPr>
              <a:buNone/>
              <a:defRPr sz="800" i="0">
                <a:solidFill>
                  <a:srgbClr val="1C252C"/>
                </a:solidFill>
              </a:defRPr>
            </a:lvl1pPr>
          </a:lstStyle>
          <a:p>
            <a:pPr lvl="0"/>
            <a:r>
              <a:rPr lang="en-US" noProof="0" dirty="0"/>
              <a:t>Sourc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0A3FCD50-EA29-4DFC-B446-BC50D983D9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1C252C"/>
                </a:solidFill>
              </a:defRPr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997634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fi-FI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5E4942-32EB-4D06-B154-4347DF2C3D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25C4D2-0EAB-4586-BA9F-D206950D28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838800" y="1807199"/>
            <a:ext cx="10515600" cy="4457075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03683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act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itel 51">
            <a:extLst>
              <a:ext uri="{FF2B5EF4-FFF2-40B4-BE49-F238E27FC236}">
                <a16:creationId xmlns:a16="http://schemas.microsoft.com/office/drawing/2014/main" id="{A03C979E-72B6-4CEF-BF0F-0988A34AAEF4}"/>
              </a:ext>
            </a:extLst>
          </p:cNvPr>
          <p:cNvSpPr txBox="1">
            <a:spLocks/>
          </p:cNvSpPr>
          <p:nvPr/>
        </p:nvSpPr>
        <p:spPr>
          <a:xfrm>
            <a:off x="5373045" y="655497"/>
            <a:ext cx="1445909" cy="677108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>
                <a:latin typeface="+mj-lt"/>
                <a:cs typeface="Teko" panose="02000000000000000000" pitchFamily="2" charset="0"/>
              </a:rPr>
              <a:t>CONTACT</a:t>
            </a:r>
          </a:p>
        </p:txBody>
      </p:sp>
      <p:grpSp>
        <p:nvGrpSpPr>
          <p:cNvPr id="7" name="Group 33">
            <a:extLst>
              <a:ext uri="{FF2B5EF4-FFF2-40B4-BE49-F238E27FC236}">
                <a16:creationId xmlns:a16="http://schemas.microsoft.com/office/drawing/2014/main" id="{B14FCE18-24EE-4500-8233-F7B948F9A9A1}"/>
              </a:ext>
            </a:extLst>
          </p:cNvPr>
          <p:cNvGrpSpPr>
            <a:grpSpLocks noChangeAspect="1"/>
          </p:cNvGrpSpPr>
          <p:nvPr/>
        </p:nvGrpSpPr>
        <p:grpSpPr bwMode="invGray">
          <a:xfrm>
            <a:off x="3883626" y="5277925"/>
            <a:ext cx="4354046" cy="1000336"/>
            <a:chOff x="-108" y="106"/>
            <a:chExt cx="4296" cy="987"/>
          </a:xfrm>
        </p:grpSpPr>
        <p:sp>
          <p:nvSpPr>
            <p:cNvPr id="8" name="Freeform 34">
              <a:extLst>
                <a:ext uri="{FF2B5EF4-FFF2-40B4-BE49-F238E27FC236}">
                  <a16:creationId xmlns:a16="http://schemas.microsoft.com/office/drawing/2014/main" id="{66A874BF-5D64-4BA0-8353-98BAD85F149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344" y="106"/>
              <a:ext cx="779" cy="536"/>
            </a:xfrm>
            <a:custGeom>
              <a:avLst/>
              <a:gdLst>
                <a:gd name="T0" fmla="*/ 458 w 476"/>
                <a:gd name="T1" fmla="*/ 111 h 327"/>
                <a:gd name="T2" fmla="*/ 284 w 476"/>
                <a:gd name="T3" fmla="*/ 285 h 327"/>
                <a:gd name="T4" fmla="*/ 199 w 476"/>
                <a:gd name="T5" fmla="*/ 285 h 327"/>
                <a:gd name="T6" fmla="*/ 51 w 476"/>
                <a:gd name="T7" fmla="*/ 136 h 327"/>
                <a:gd name="T8" fmla="*/ 51 w 476"/>
                <a:gd name="T9" fmla="*/ 51 h 327"/>
                <a:gd name="T10" fmla="*/ 136 w 476"/>
                <a:gd name="T11" fmla="*/ 51 h 327"/>
                <a:gd name="T12" fmla="*/ 242 w 476"/>
                <a:gd name="T13" fmla="*/ 157 h 327"/>
                <a:gd name="T14" fmla="*/ 348 w 476"/>
                <a:gd name="T15" fmla="*/ 51 h 327"/>
                <a:gd name="T16" fmla="*/ 433 w 476"/>
                <a:gd name="T17" fmla="*/ 51 h 327"/>
                <a:gd name="T18" fmla="*/ 458 w 476"/>
                <a:gd name="T19" fmla="*/ 76 h 327"/>
                <a:gd name="T20" fmla="*/ 476 w 476"/>
                <a:gd name="T21" fmla="*/ 59 h 327"/>
                <a:gd name="T22" fmla="*/ 451 w 476"/>
                <a:gd name="T23" fmla="*/ 34 h 327"/>
                <a:gd name="T24" fmla="*/ 331 w 476"/>
                <a:gd name="T25" fmla="*/ 34 h 327"/>
                <a:gd name="T26" fmla="*/ 242 w 476"/>
                <a:gd name="T27" fmla="*/ 122 h 327"/>
                <a:gd name="T28" fmla="*/ 153 w 476"/>
                <a:gd name="T29" fmla="*/ 34 h 327"/>
                <a:gd name="T30" fmla="*/ 33 w 476"/>
                <a:gd name="T31" fmla="*/ 34 h 327"/>
                <a:gd name="T32" fmla="*/ 33 w 476"/>
                <a:gd name="T33" fmla="*/ 154 h 327"/>
                <a:gd name="T34" fmla="*/ 182 w 476"/>
                <a:gd name="T35" fmla="*/ 302 h 327"/>
                <a:gd name="T36" fmla="*/ 242 w 476"/>
                <a:gd name="T37" fmla="*/ 327 h 327"/>
                <a:gd name="T38" fmla="*/ 302 w 476"/>
                <a:gd name="T39" fmla="*/ 302 h 327"/>
                <a:gd name="T40" fmla="*/ 476 w 476"/>
                <a:gd name="T41" fmla="*/ 129 h 327"/>
                <a:gd name="T42" fmla="*/ 458 w 476"/>
                <a:gd name="T43" fmla="*/ 1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6" h="327">
                  <a:moveTo>
                    <a:pt x="458" y="111"/>
                  </a:moveTo>
                  <a:cubicBezTo>
                    <a:pt x="284" y="285"/>
                    <a:pt x="284" y="285"/>
                    <a:pt x="284" y="285"/>
                  </a:cubicBezTo>
                  <a:cubicBezTo>
                    <a:pt x="261" y="308"/>
                    <a:pt x="223" y="308"/>
                    <a:pt x="199" y="285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27" y="113"/>
                    <a:pt x="27" y="75"/>
                    <a:pt x="51" y="51"/>
                  </a:cubicBezTo>
                  <a:cubicBezTo>
                    <a:pt x="74" y="28"/>
                    <a:pt x="112" y="28"/>
                    <a:pt x="136" y="51"/>
                  </a:cubicBezTo>
                  <a:cubicBezTo>
                    <a:pt x="242" y="157"/>
                    <a:pt x="242" y="157"/>
                    <a:pt x="242" y="157"/>
                  </a:cubicBezTo>
                  <a:cubicBezTo>
                    <a:pt x="348" y="51"/>
                    <a:pt x="348" y="51"/>
                    <a:pt x="348" y="51"/>
                  </a:cubicBezTo>
                  <a:cubicBezTo>
                    <a:pt x="372" y="28"/>
                    <a:pt x="410" y="28"/>
                    <a:pt x="433" y="51"/>
                  </a:cubicBezTo>
                  <a:cubicBezTo>
                    <a:pt x="458" y="76"/>
                    <a:pt x="458" y="76"/>
                    <a:pt x="458" y="76"/>
                  </a:cubicBezTo>
                  <a:cubicBezTo>
                    <a:pt x="476" y="59"/>
                    <a:pt x="476" y="59"/>
                    <a:pt x="476" y="59"/>
                  </a:cubicBezTo>
                  <a:cubicBezTo>
                    <a:pt x="451" y="34"/>
                    <a:pt x="451" y="34"/>
                    <a:pt x="451" y="34"/>
                  </a:cubicBezTo>
                  <a:cubicBezTo>
                    <a:pt x="418" y="0"/>
                    <a:pt x="364" y="0"/>
                    <a:pt x="331" y="34"/>
                  </a:cubicBezTo>
                  <a:cubicBezTo>
                    <a:pt x="242" y="122"/>
                    <a:pt x="242" y="122"/>
                    <a:pt x="242" y="122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20" y="0"/>
                    <a:pt x="66" y="0"/>
                    <a:pt x="33" y="34"/>
                  </a:cubicBezTo>
                  <a:cubicBezTo>
                    <a:pt x="0" y="67"/>
                    <a:pt x="0" y="121"/>
                    <a:pt x="33" y="154"/>
                  </a:cubicBezTo>
                  <a:cubicBezTo>
                    <a:pt x="182" y="302"/>
                    <a:pt x="182" y="302"/>
                    <a:pt x="182" y="302"/>
                  </a:cubicBezTo>
                  <a:cubicBezTo>
                    <a:pt x="198" y="319"/>
                    <a:pt x="220" y="327"/>
                    <a:pt x="242" y="327"/>
                  </a:cubicBezTo>
                  <a:cubicBezTo>
                    <a:pt x="264" y="327"/>
                    <a:pt x="285" y="319"/>
                    <a:pt x="302" y="302"/>
                  </a:cubicBezTo>
                  <a:cubicBezTo>
                    <a:pt x="476" y="129"/>
                    <a:pt x="476" y="129"/>
                    <a:pt x="476" y="129"/>
                  </a:cubicBezTo>
                  <a:lnTo>
                    <a:pt x="458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5">
              <a:extLst>
                <a:ext uri="{FF2B5EF4-FFF2-40B4-BE49-F238E27FC236}">
                  <a16:creationId xmlns:a16="http://schemas.microsoft.com/office/drawing/2014/main" id="{906AA9BA-7614-4426-A9E2-E77C34A1C995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936" y="106"/>
              <a:ext cx="778" cy="551"/>
            </a:xfrm>
            <a:custGeom>
              <a:avLst/>
              <a:gdLst>
                <a:gd name="T0" fmla="*/ 443 w 476"/>
                <a:gd name="T1" fmla="*/ 182 h 336"/>
                <a:gd name="T2" fmla="*/ 294 w 476"/>
                <a:gd name="T3" fmla="*/ 34 h 336"/>
                <a:gd name="T4" fmla="*/ 174 w 476"/>
                <a:gd name="T5" fmla="*/ 34 h 336"/>
                <a:gd name="T6" fmla="*/ 114 w 476"/>
                <a:gd name="T7" fmla="*/ 94 h 336"/>
                <a:gd name="T8" fmla="*/ 131 w 476"/>
                <a:gd name="T9" fmla="*/ 111 h 336"/>
                <a:gd name="T10" fmla="*/ 191 w 476"/>
                <a:gd name="T11" fmla="*/ 51 h 336"/>
                <a:gd name="T12" fmla="*/ 276 w 476"/>
                <a:gd name="T13" fmla="*/ 51 h 336"/>
                <a:gd name="T14" fmla="*/ 425 w 476"/>
                <a:gd name="T15" fmla="*/ 200 h 336"/>
                <a:gd name="T16" fmla="*/ 425 w 476"/>
                <a:gd name="T17" fmla="*/ 285 h 336"/>
                <a:gd name="T18" fmla="*/ 340 w 476"/>
                <a:gd name="T19" fmla="*/ 285 h 336"/>
                <a:gd name="T20" fmla="*/ 234 w 476"/>
                <a:gd name="T21" fmla="*/ 179 h 336"/>
                <a:gd name="T22" fmla="*/ 128 w 476"/>
                <a:gd name="T23" fmla="*/ 285 h 336"/>
                <a:gd name="T24" fmla="*/ 43 w 476"/>
                <a:gd name="T25" fmla="*/ 285 h 336"/>
                <a:gd name="T26" fmla="*/ 18 w 476"/>
                <a:gd name="T27" fmla="*/ 260 h 336"/>
                <a:gd name="T28" fmla="*/ 0 w 476"/>
                <a:gd name="T29" fmla="*/ 277 h 336"/>
                <a:gd name="T30" fmla="*/ 25 w 476"/>
                <a:gd name="T31" fmla="*/ 302 h 336"/>
                <a:gd name="T32" fmla="*/ 145 w 476"/>
                <a:gd name="T33" fmla="*/ 302 h 336"/>
                <a:gd name="T34" fmla="*/ 234 w 476"/>
                <a:gd name="T35" fmla="*/ 214 h 336"/>
                <a:gd name="T36" fmla="*/ 323 w 476"/>
                <a:gd name="T37" fmla="*/ 302 h 336"/>
                <a:gd name="T38" fmla="*/ 443 w 476"/>
                <a:gd name="T39" fmla="*/ 302 h 336"/>
                <a:gd name="T40" fmla="*/ 443 w 476"/>
                <a:gd name="T41" fmla="*/ 18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6" h="336">
                  <a:moveTo>
                    <a:pt x="443" y="182"/>
                  </a:moveTo>
                  <a:cubicBezTo>
                    <a:pt x="294" y="34"/>
                    <a:pt x="294" y="34"/>
                    <a:pt x="294" y="34"/>
                  </a:cubicBezTo>
                  <a:cubicBezTo>
                    <a:pt x="261" y="0"/>
                    <a:pt x="207" y="0"/>
                    <a:pt x="174" y="34"/>
                  </a:cubicBezTo>
                  <a:cubicBezTo>
                    <a:pt x="114" y="94"/>
                    <a:pt x="114" y="94"/>
                    <a:pt x="114" y="94"/>
                  </a:cubicBezTo>
                  <a:cubicBezTo>
                    <a:pt x="131" y="111"/>
                    <a:pt x="131" y="111"/>
                    <a:pt x="131" y="111"/>
                  </a:cubicBezTo>
                  <a:cubicBezTo>
                    <a:pt x="191" y="51"/>
                    <a:pt x="191" y="51"/>
                    <a:pt x="191" y="51"/>
                  </a:cubicBezTo>
                  <a:cubicBezTo>
                    <a:pt x="215" y="28"/>
                    <a:pt x="253" y="28"/>
                    <a:pt x="276" y="51"/>
                  </a:cubicBezTo>
                  <a:cubicBezTo>
                    <a:pt x="425" y="200"/>
                    <a:pt x="425" y="200"/>
                    <a:pt x="425" y="200"/>
                  </a:cubicBezTo>
                  <a:cubicBezTo>
                    <a:pt x="449" y="223"/>
                    <a:pt x="449" y="261"/>
                    <a:pt x="425" y="285"/>
                  </a:cubicBezTo>
                  <a:cubicBezTo>
                    <a:pt x="402" y="308"/>
                    <a:pt x="364" y="308"/>
                    <a:pt x="340" y="285"/>
                  </a:cubicBezTo>
                  <a:cubicBezTo>
                    <a:pt x="234" y="179"/>
                    <a:pt x="234" y="179"/>
                    <a:pt x="234" y="179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04" y="308"/>
                    <a:pt x="66" y="308"/>
                    <a:pt x="43" y="285"/>
                  </a:cubicBezTo>
                  <a:cubicBezTo>
                    <a:pt x="18" y="260"/>
                    <a:pt x="18" y="260"/>
                    <a:pt x="18" y="26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25" y="302"/>
                    <a:pt x="25" y="302"/>
                    <a:pt x="25" y="302"/>
                  </a:cubicBezTo>
                  <a:cubicBezTo>
                    <a:pt x="58" y="336"/>
                    <a:pt x="112" y="336"/>
                    <a:pt x="145" y="302"/>
                  </a:cubicBezTo>
                  <a:cubicBezTo>
                    <a:pt x="234" y="214"/>
                    <a:pt x="234" y="214"/>
                    <a:pt x="234" y="214"/>
                  </a:cubicBezTo>
                  <a:cubicBezTo>
                    <a:pt x="323" y="302"/>
                    <a:pt x="323" y="302"/>
                    <a:pt x="323" y="302"/>
                  </a:cubicBezTo>
                  <a:cubicBezTo>
                    <a:pt x="356" y="336"/>
                    <a:pt x="410" y="336"/>
                    <a:pt x="443" y="302"/>
                  </a:cubicBezTo>
                  <a:cubicBezTo>
                    <a:pt x="476" y="269"/>
                    <a:pt x="476" y="215"/>
                    <a:pt x="443" y="182"/>
                  </a:cubicBezTo>
                </a:path>
              </a:pathLst>
            </a:custGeom>
            <a:solidFill>
              <a:srgbClr val="57C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6">
              <a:extLst>
                <a:ext uri="{FF2B5EF4-FFF2-40B4-BE49-F238E27FC236}">
                  <a16:creationId xmlns:a16="http://schemas.microsoft.com/office/drawing/2014/main" id="{E415FA33-555B-4B1D-87EE-A2E602C1BD0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-108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3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3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7">
              <a:extLst>
                <a:ext uri="{FF2B5EF4-FFF2-40B4-BE49-F238E27FC236}">
                  <a16:creationId xmlns:a16="http://schemas.microsoft.com/office/drawing/2014/main" id="{94DF183D-A363-4947-826B-8E4ADBC149E8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3705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4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4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8">
              <a:extLst>
                <a:ext uri="{FF2B5EF4-FFF2-40B4-BE49-F238E27FC236}">
                  <a16:creationId xmlns:a16="http://schemas.microsoft.com/office/drawing/2014/main" id="{C0D21617-4EF0-4115-A352-E8B6B34B2430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38" y="870"/>
              <a:ext cx="251" cy="219"/>
            </a:xfrm>
            <a:custGeom>
              <a:avLst/>
              <a:gdLst>
                <a:gd name="T0" fmla="*/ 126 w 251"/>
                <a:gd name="T1" fmla="*/ 62 h 219"/>
                <a:gd name="T2" fmla="*/ 162 w 251"/>
                <a:gd name="T3" fmla="*/ 142 h 219"/>
                <a:gd name="T4" fmla="*/ 90 w 251"/>
                <a:gd name="T5" fmla="*/ 142 h 219"/>
                <a:gd name="T6" fmla="*/ 126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4 w 251"/>
                <a:gd name="T13" fmla="*/ 219 h 219"/>
                <a:gd name="T14" fmla="*/ 72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4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6" y="62"/>
                  </a:moveTo>
                  <a:lnTo>
                    <a:pt x="162" y="142"/>
                  </a:lnTo>
                  <a:lnTo>
                    <a:pt x="90" y="142"/>
                  </a:lnTo>
                  <a:lnTo>
                    <a:pt x="126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4" y="219"/>
                  </a:lnTo>
                  <a:lnTo>
                    <a:pt x="72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4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84E373E0-9A04-4EC4-B012-587F315250BA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1590" y="870"/>
              <a:ext cx="251" cy="219"/>
            </a:xfrm>
            <a:custGeom>
              <a:avLst/>
              <a:gdLst>
                <a:gd name="T0" fmla="*/ 125 w 251"/>
                <a:gd name="T1" fmla="*/ 62 h 219"/>
                <a:gd name="T2" fmla="*/ 161 w 251"/>
                <a:gd name="T3" fmla="*/ 142 h 219"/>
                <a:gd name="T4" fmla="*/ 89 w 251"/>
                <a:gd name="T5" fmla="*/ 142 h 219"/>
                <a:gd name="T6" fmla="*/ 125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3 w 251"/>
                <a:gd name="T13" fmla="*/ 219 h 219"/>
                <a:gd name="T14" fmla="*/ 71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5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5" y="62"/>
                  </a:moveTo>
                  <a:lnTo>
                    <a:pt x="161" y="142"/>
                  </a:lnTo>
                  <a:lnTo>
                    <a:pt x="89" y="142"/>
                  </a:lnTo>
                  <a:lnTo>
                    <a:pt x="125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3" y="219"/>
                  </a:lnTo>
                  <a:lnTo>
                    <a:pt x="71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5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40">
              <a:extLst>
                <a:ext uri="{FF2B5EF4-FFF2-40B4-BE49-F238E27FC236}">
                  <a16:creationId xmlns:a16="http://schemas.microsoft.com/office/drawing/2014/main" id="{623B1BE8-4D6B-4A6C-8ADC-2490A67562E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443" y="870"/>
              <a:ext cx="164" cy="219"/>
            </a:xfrm>
            <a:custGeom>
              <a:avLst/>
              <a:gdLst>
                <a:gd name="T0" fmla="*/ 0 w 164"/>
                <a:gd name="T1" fmla="*/ 0 h 219"/>
                <a:gd name="T2" fmla="*/ 0 w 164"/>
                <a:gd name="T3" fmla="*/ 219 h 219"/>
                <a:gd name="T4" fmla="*/ 164 w 164"/>
                <a:gd name="T5" fmla="*/ 219 h 219"/>
                <a:gd name="T6" fmla="*/ 164 w 164"/>
                <a:gd name="T7" fmla="*/ 177 h 219"/>
                <a:gd name="T8" fmla="*/ 51 w 164"/>
                <a:gd name="T9" fmla="*/ 177 h 219"/>
                <a:gd name="T10" fmla="*/ 51 w 164"/>
                <a:gd name="T11" fmla="*/ 0 h 219"/>
                <a:gd name="T12" fmla="*/ 0 w 164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219">
                  <a:moveTo>
                    <a:pt x="0" y="0"/>
                  </a:moveTo>
                  <a:lnTo>
                    <a:pt x="0" y="219"/>
                  </a:lnTo>
                  <a:lnTo>
                    <a:pt x="164" y="219"/>
                  </a:lnTo>
                  <a:lnTo>
                    <a:pt x="164" y="177"/>
                  </a:lnTo>
                  <a:lnTo>
                    <a:pt x="51" y="177"/>
                  </a:lnTo>
                  <a:lnTo>
                    <a:pt x="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08E8E421-852A-4A66-A085-02E4B295CD2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667" y="870"/>
              <a:ext cx="259" cy="219"/>
            </a:xfrm>
            <a:custGeom>
              <a:avLst/>
              <a:gdLst>
                <a:gd name="T0" fmla="*/ 218 w 259"/>
                <a:gd name="T1" fmla="*/ 0 h 219"/>
                <a:gd name="T2" fmla="*/ 130 w 259"/>
                <a:gd name="T3" fmla="*/ 75 h 219"/>
                <a:gd name="T4" fmla="*/ 41 w 259"/>
                <a:gd name="T5" fmla="*/ 0 h 219"/>
                <a:gd name="T6" fmla="*/ 0 w 259"/>
                <a:gd name="T7" fmla="*/ 0 h 219"/>
                <a:gd name="T8" fmla="*/ 0 w 259"/>
                <a:gd name="T9" fmla="*/ 219 h 219"/>
                <a:gd name="T10" fmla="*/ 49 w 259"/>
                <a:gd name="T11" fmla="*/ 219 h 219"/>
                <a:gd name="T12" fmla="*/ 49 w 259"/>
                <a:gd name="T13" fmla="*/ 69 h 219"/>
                <a:gd name="T14" fmla="*/ 130 w 259"/>
                <a:gd name="T15" fmla="*/ 136 h 219"/>
                <a:gd name="T16" fmla="*/ 208 w 259"/>
                <a:gd name="T17" fmla="*/ 69 h 219"/>
                <a:gd name="T18" fmla="*/ 208 w 259"/>
                <a:gd name="T19" fmla="*/ 219 h 219"/>
                <a:gd name="T20" fmla="*/ 257 w 259"/>
                <a:gd name="T21" fmla="*/ 219 h 219"/>
                <a:gd name="T22" fmla="*/ 259 w 259"/>
                <a:gd name="T23" fmla="*/ 0 h 219"/>
                <a:gd name="T24" fmla="*/ 218 w 259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219">
                  <a:moveTo>
                    <a:pt x="218" y="0"/>
                  </a:moveTo>
                  <a:lnTo>
                    <a:pt x="130" y="75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30" y="136"/>
                  </a:lnTo>
                  <a:lnTo>
                    <a:pt x="208" y="69"/>
                  </a:lnTo>
                  <a:lnTo>
                    <a:pt x="208" y="219"/>
                  </a:lnTo>
                  <a:lnTo>
                    <a:pt x="257" y="219"/>
                  </a:lnTo>
                  <a:lnTo>
                    <a:pt x="259" y="0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42">
              <a:extLst>
                <a:ext uri="{FF2B5EF4-FFF2-40B4-BE49-F238E27FC236}">
                  <a16:creationId xmlns:a16="http://schemas.microsoft.com/office/drawing/2014/main" id="{68544BAF-04AE-42DB-8A46-01E5A60FBD04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2723" y="870"/>
              <a:ext cx="258" cy="219"/>
            </a:xfrm>
            <a:custGeom>
              <a:avLst/>
              <a:gdLst>
                <a:gd name="T0" fmla="*/ 217 w 258"/>
                <a:gd name="T1" fmla="*/ 0 h 219"/>
                <a:gd name="T2" fmla="*/ 129 w 258"/>
                <a:gd name="T3" fmla="*/ 75 h 219"/>
                <a:gd name="T4" fmla="*/ 40 w 258"/>
                <a:gd name="T5" fmla="*/ 0 h 219"/>
                <a:gd name="T6" fmla="*/ 0 w 258"/>
                <a:gd name="T7" fmla="*/ 0 h 219"/>
                <a:gd name="T8" fmla="*/ 0 w 258"/>
                <a:gd name="T9" fmla="*/ 219 h 219"/>
                <a:gd name="T10" fmla="*/ 49 w 258"/>
                <a:gd name="T11" fmla="*/ 219 h 219"/>
                <a:gd name="T12" fmla="*/ 49 w 258"/>
                <a:gd name="T13" fmla="*/ 69 h 219"/>
                <a:gd name="T14" fmla="*/ 129 w 258"/>
                <a:gd name="T15" fmla="*/ 136 h 219"/>
                <a:gd name="T16" fmla="*/ 207 w 258"/>
                <a:gd name="T17" fmla="*/ 69 h 219"/>
                <a:gd name="T18" fmla="*/ 207 w 258"/>
                <a:gd name="T19" fmla="*/ 219 h 219"/>
                <a:gd name="T20" fmla="*/ 256 w 258"/>
                <a:gd name="T21" fmla="*/ 219 h 219"/>
                <a:gd name="T22" fmla="*/ 258 w 258"/>
                <a:gd name="T23" fmla="*/ 0 h 219"/>
                <a:gd name="T24" fmla="*/ 217 w 258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219">
                  <a:moveTo>
                    <a:pt x="217" y="0"/>
                  </a:moveTo>
                  <a:lnTo>
                    <a:pt x="129" y="75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29" y="136"/>
                  </a:lnTo>
                  <a:lnTo>
                    <a:pt x="207" y="69"/>
                  </a:lnTo>
                  <a:lnTo>
                    <a:pt x="207" y="219"/>
                  </a:lnTo>
                  <a:lnTo>
                    <a:pt x="256" y="219"/>
                  </a:lnTo>
                  <a:lnTo>
                    <a:pt x="258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330591C4-6747-4E54-A57E-427E4A483D46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004" y="870"/>
              <a:ext cx="183" cy="219"/>
            </a:xfrm>
            <a:custGeom>
              <a:avLst/>
              <a:gdLst>
                <a:gd name="T0" fmla="*/ 0 w 183"/>
                <a:gd name="T1" fmla="*/ 0 h 219"/>
                <a:gd name="T2" fmla="*/ 0 w 183"/>
                <a:gd name="T3" fmla="*/ 219 h 219"/>
                <a:gd name="T4" fmla="*/ 183 w 183"/>
                <a:gd name="T5" fmla="*/ 219 h 219"/>
                <a:gd name="T6" fmla="*/ 183 w 183"/>
                <a:gd name="T7" fmla="*/ 177 h 219"/>
                <a:gd name="T8" fmla="*/ 51 w 183"/>
                <a:gd name="T9" fmla="*/ 177 h 219"/>
                <a:gd name="T10" fmla="*/ 51 w 183"/>
                <a:gd name="T11" fmla="*/ 128 h 219"/>
                <a:gd name="T12" fmla="*/ 170 w 183"/>
                <a:gd name="T13" fmla="*/ 128 h 219"/>
                <a:gd name="T14" fmla="*/ 170 w 183"/>
                <a:gd name="T15" fmla="*/ 87 h 219"/>
                <a:gd name="T16" fmla="*/ 51 w 183"/>
                <a:gd name="T17" fmla="*/ 87 h 219"/>
                <a:gd name="T18" fmla="*/ 51 w 183"/>
                <a:gd name="T19" fmla="*/ 41 h 219"/>
                <a:gd name="T20" fmla="*/ 182 w 183"/>
                <a:gd name="T21" fmla="*/ 41 h 219"/>
                <a:gd name="T22" fmla="*/ 182 w 183"/>
                <a:gd name="T23" fmla="*/ 0 h 219"/>
                <a:gd name="T24" fmla="*/ 0 w 183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9">
                  <a:moveTo>
                    <a:pt x="0" y="0"/>
                  </a:moveTo>
                  <a:lnTo>
                    <a:pt x="0" y="219"/>
                  </a:lnTo>
                  <a:lnTo>
                    <a:pt x="183" y="219"/>
                  </a:lnTo>
                  <a:lnTo>
                    <a:pt x="183" y="177"/>
                  </a:lnTo>
                  <a:lnTo>
                    <a:pt x="51" y="177"/>
                  </a:lnTo>
                  <a:lnTo>
                    <a:pt x="51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51" y="87"/>
                  </a:lnTo>
                  <a:lnTo>
                    <a:pt x="51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44">
              <a:extLst>
                <a:ext uri="{FF2B5EF4-FFF2-40B4-BE49-F238E27FC236}">
                  <a16:creationId xmlns:a16="http://schemas.microsoft.com/office/drawing/2014/main" id="{B277B08F-F9E3-4979-A03D-90FFD315A4D3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4004" y="870"/>
              <a:ext cx="184" cy="219"/>
            </a:xfrm>
            <a:custGeom>
              <a:avLst/>
              <a:gdLst>
                <a:gd name="T0" fmla="*/ 0 w 184"/>
                <a:gd name="T1" fmla="*/ 0 h 219"/>
                <a:gd name="T2" fmla="*/ 0 w 184"/>
                <a:gd name="T3" fmla="*/ 219 h 219"/>
                <a:gd name="T4" fmla="*/ 184 w 184"/>
                <a:gd name="T5" fmla="*/ 219 h 219"/>
                <a:gd name="T6" fmla="*/ 184 w 184"/>
                <a:gd name="T7" fmla="*/ 177 h 219"/>
                <a:gd name="T8" fmla="*/ 49 w 184"/>
                <a:gd name="T9" fmla="*/ 177 h 219"/>
                <a:gd name="T10" fmla="*/ 49 w 184"/>
                <a:gd name="T11" fmla="*/ 128 h 219"/>
                <a:gd name="T12" fmla="*/ 170 w 184"/>
                <a:gd name="T13" fmla="*/ 128 h 219"/>
                <a:gd name="T14" fmla="*/ 170 w 184"/>
                <a:gd name="T15" fmla="*/ 87 h 219"/>
                <a:gd name="T16" fmla="*/ 49 w 184"/>
                <a:gd name="T17" fmla="*/ 87 h 219"/>
                <a:gd name="T18" fmla="*/ 49 w 184"/>
                <a:gd name="T19" fmla="*/ 41 h 219"/>
                <a:gd name="T20" fmla="*/ 182 w 184"/>
                <a:gd name="T21" fmla="*/ 41 h 219"/>
                <a:gd name="T22" fmla="*/ 182 w 184"/>
                <a:gd name="T23" fmla="*/ 0 h 219"/>
                <a:gd name="T24" fmla="*/ 0 w 184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19">
                  <a:moveTo>
                    <a:pt x="0" y="0"/>
                  </a:moveTo>
                  <a:lnTo>
                    <a:pt x="0" y="219"/>
                  </a:lnTo>
                  <a:lnTo>
                    <a:pt x="184" y="219"/>
                  </a:lnTo>
                  <a:lnTo>
                    <a:pt x="184" y="177"/>
                  </a:lnTo>
                  <a:lnTo>
                    <a:pt x="49" y="177"/>
                  </a:lnTo>
                  <a:lnTo>
                    <a:pt x="49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49" y="87"/>
                  </a:lnTo>
                  <a:lnTo>
                    <a:pt x="49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45">
              <a:extLst>
                <a:ext uri="{FF2B5EF4-FFF2-40B4-BE49-F238E27FC236}">
                  <a16:creationId xmlns:a16="http://schemas.microsoft.com/office/drawing/2014/main" id="{D3B446BA-81B7-4129-8035-1AC7E91D496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231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5 w 218"/>
                <a:gd name="T5" fmla="*/ 41 h 219"/>
                <a:gd name="T6" fmla="*/ 85 w 218"/>
                <a:gd name="T7" fmla="*/ 219 h 219"/>
                <a:gd name="T8" fmla="*/ 135 w 218"/>
                <a:gd name="T9" fmla="*/ 219 h 219"/>
                <a:gd name="T10" fmla="*/ 135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5" y="219"/>
                  </a:lnTo>
                  <a:lnTo>
                    <a:pt x="135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46">
              <a:extLst>
                <a:ext uri="{FF2B5EF4-FFF2-40B4-BE49-F238E27FC236}">
                  <a16:creationId xmlns:a16="http://schemas.microsoft.com/office/drawing/2014/main" id="{5B297AD2-2B79-45FE-873B-49A77F21821E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2160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4 w 218"/>
                <a:gd name="T5" fmla="*/ 41 h 219"/>
                <a:gd name="T6" fmla="*/ 84 w 218"/>
                <a:gd name="T7" fmla="*/ 219 h 219"/>
                <a:gd name="T8" fmla="*/ 134 w 218"/>
                <a:gd name="T9" fmla="*/ 219 h 219"/>
                <a:gd name="T10" fmla="*/ 134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4" y="41"/>
                  </a:lnTo>
                  <a:lnTo>
                    <a:pt x="84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47">
              <a:extLst>
                <a:ext uri="{FF2B5EF4-FFF2-40B4-BE49-F238E27FC236}">
                  <a16:creationId xmlns:a16="http://schemas.microsoft.com/office/drawing/2014/main" id="{0707F680-0A1B-4DF6-8D08-634B2DAABE6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3324" y="870"/>
              <a:ext cx="219" cy="219"/>
            </a:xfrm>
            <a:custGeom>
              <a:avLst/>
              <a:gdLst>
                <a:gd name="T0" fmla="*/ 0 w 219"/>
                <a:gd name="T1" fmla="*/ 0 h 219"/>
                <a:gd name="T2" fmla="*/ 0 w 219"/>
                <a:gd name="T3" fmla="*/ 41 h 219"/>
                <a:gd name="T4" fmla="*/ 85 w 219"/>
                <a:gd name="T5" fmla="*/ 41 h 219"/>
                <a:gd name="T6" fmla="*/ 85 w 219"/>
                <a:gd name="T7" fmla="*/ 219 h 219"/>
                <a:gd name="T8" fmla="*/ 134 w 219"/>
                <a:gd name="T9" fmla="*/ 219 h 219"/>
                <a:gd name="T10" fmla="*/ 134 w 219"/>
                <a:gd name="T11" fmla="*/ 41 h 219"/>
                <a:gd name="T12" fmla="*/ 219 w 219"/>
                <a:gd name="T13" fmla="*/ 41 h 219"/>
                <a:gd name="T14" fmla="*/ 219 w 219"/>
                <a:gd name="T15" fmla="*/ 0 h 219"/>
                <a:gd name="T16" fmla="*/ 0 w 219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9" y="41"/>
                  </a:lnTo>
                  <a:lnTo>
                    <a:pt x="2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48">
              <a:extLst>
                <a:ext uri="{FF2B5EF4-FFF2-40B4-BE49-F238E27FC236}">
                  <a16:creationId xmlns:a16="http://schemas.microsoft.com/office/drawing/2014/main" id="{3291AEDA-A08A-4DA4-B3E4-633FA19DEBA2}"/>
                </a:ext>
              </a:extLst>
            </p:cNvPr>
            <p:cNvSpPr>
              <a:spLocks/>
            </p:cNvSpPr>
            <p:nvPr/>
          </p:nvSpPr>
          <p:spPr bwMode="invGray">
            <a:xfrm>
              <a:off x="1882" y="870"/>
              <a:ext cx="224" cy="223"/>
            </a:xfrm>
            <a:custGeom>
              <a:avLst/>
              <a:gdLst>
                <a:gd name="T0" fmla="*/ 106 w 137"/>
                <a:gd name="T1" fmla="*/ 0 h 136"/>
                <a:gd name="T2" fmla="*/ 137 w 137"/>
                <a:gd name="T3" fmla="*/ 0 h 136"/>
                <a:gd name="T4" fmla="*/ 137 w 137"/>
                <a:gd name="T5" fmla="*/ 70 h 136"/>
                <a:gd name="T6" fmla="*/ 68 w 137"/>
                <a:gd name="T7" fmla="*/ 136 h 136"/>
                <a:gd name="T8" fmla="*/ 0 w 137"/>
                <a:gd name="T9" fmla="*/ 70 h 136"/>
                <a:gd name="T10" fmla="*/ 0 w 137"/>
                <a:gd name="T11" fmla="*/ 0 h 136"/>
                <a:gd name="T12" fmla="*/ 30 w 137"/>
                <a:gd name="T13" fmla="*/ 0 h 136"/>
                <a:gd name="T14" fmla="*/ 30 w 137"/>
                <a:gd name="T15" fmla="*/ 70 h 136"/>
                <a:gd name="T16" fmla="*/ 68 w 137"/>
                <a:gd name="T17" fmla="*/ 111 h 136"/>
                <a:gd name="T18" fmla="*/ 106 w 137"/>
                <a:gd name="T19" fmla="*/ 70 h 136"/>
                <a:gd name="T20" fmla="*/ 106 w 137"/>
                <a:gd name="T2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36">
                  <a:moveTo>
                    <a:pt x="106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113"/>
                    <a:pt x="110" y="136"/>
                    <a:pt x="68" y="136"/>
                  </a:cubicBezTo>
                  <a:cubicBezTo>
                    <a:pt x="27" y="136"/>
                    <a:pt x="0" y="113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97"/>
                    <a:pt x="44" y="111"/>
                    <a:pt x="68" y="111"/>
                  </a:cubicBezTo>
                  <a:cubicBezTo>
                    <a:pt x="93" y="111"/>
                    <a:pt x="106" y="97"/>
                    <a:pt x="106" y="70"/>
                  </a:cubicBez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DDECA094-527A-4AAA-8A3F-28642E2626D0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2412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5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5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0">
              <a:extLst>
                <a:ext uri="{FF2B5EF4-FFF2-40B4-BE49-F238E27FC236}">
                  <a16:creationId xmlns:a16="http://schemas.microsoft.com/office/drawing/2014/main" id="{661D74B7-0709-4939-B153-F92E0CD59F4B}"/>
                </a:ext>
              </a:extLst>
            </p:cNvPr>
            <p:cNvSpPr>
              <a:spLocks noEditPoints="1"/>
            </p:cNvSpPr>
            <p:nvPr/>
          </p:nvSpPr>
          <p:spPr bwMode="invGray">
            <a:xfrm>
              <a:off x="3048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4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4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Rectangle 51">
              <a:extLst>
                <a:ext uri="{FF2B5EF4-FFF2-40B4-BE49-F238E27FC236}">
                  <a16:creationId xmlns:a16="http://schemas.microsoft.com/office/drawing/2014/main" id="{140DFB49-E5EB-4DCD-96CA-462B08114FA6}"/>
                </a:ext>
              </a:extLst>
            </p:cNvPr>
            <p:cNvSpPr>
              <a:spLocks noChangeArrowheads="1"/>
            </p:cNvSpPr>
            <p:nvPr/>
          </p:nvSpPr>
          <p:spPr bwMode="invGray">
            <a:xfrm>
              <a:off x="3599" y="870"/>
              <a:ext cx="51" cy="2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9DCB7C8-620C-450A-8E53-0A7925FE1A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789" y="1808163"/>
            <a:ext cx="4603750" cy="30469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Segoe" panose="020B0502040504020203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b="1" noProof="0" dirty="0"/>
              <a:t>NAME</a:t>
            </a:r>
            <a:br>
              <a:rPr lang="en-US" noProof="0" dirty="0"/>
            </a:br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Department XY</a:t>
            </a:r>
          </a:p>
          <a:p>
            <a:endParaRPr lang="en-US" noProof="0" dirty="0"/>
          </a:p>
          <a:p>
            <a:r>
              <a:rPr lang="en-US" noProof="0" dirty="0"/>
              <a:t>Valmet Automotive Inc. </a:t>
            </a:r>
            <a:br>
              <a:rPr lang="en-US" noProof="0" dirty="0"/>
            </a:br>
            <a:r>
              <a:rPr lang="en-US" noProof="0" dirty="0"/>
              <a:t>Street 123</a:t>
            </a:r>
            <a:br>
              <a:rPr lang="en-US" noProof="0" dirty="0"/>
            </a:br>
            <a:r>
              <a:rPr lang="en-US" noProof="0" dirty="0"/>
              <a:t>1234 City – Country 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Mobile: +49 (0)123 45 67 89 0</a:t>
            </a:r>
          </a:p>
          <a:p>
            <a:r>
              <a:rPr lang="en-US" noProof="0" dirty="0"/>
              <a:t>E-mail:</a:t>
            </a:r>
            <a:br>
              <a:rPr lang="en-US" noProof="0" dirty="0"/>
            </a:br>
            <a:r>
              <a:rPr lang="en-US" noProof="0" dirty="0"/>
              <a:t>firstname.lastname@valmet-automotive.com </a:t>
            </a:r>
          </a:p>
        </p:txBody>
      </p: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6B8F5875-409E-42F3-AE21-71C16D3197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48463" y="1808163"/>
            <a:ext cx="4603750" cy="304698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Segoe" panose="020B0502040504020203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b="1" noProof="0" dirty="0"/>
              <a:t>NAME</a:t>
            </a:r>
            <a:br>
              <a:rPr lang="en-US" noProof="0" dirty="0"/>
            </a:br>
            <a:r>
              <a:rPr lang="en-US" noProof="0" dirty="0"/>
              <a:t>Job title</a:t>
            </a:r>
            <a:br>
              <a:rPr lang="en-US" noProof="0" dirty="0"/>
            </a:br>
            <a:r>
              <a:rPr lang="en-US" noProof="0" dirty="0"/>
              <a:t>Department XY</a:t>
            </a:r>
          </a:p>
          <a:p>
            <a:endParaRPr lang="en-US" noProof="0" dirty="0"/>
          </a:p>
          <a:p>
            <a:r>
              <a:rPr lang="en-US" noProof="0" dirty="0"/>
              <a:t>Valmet Automotive Inc. </a:t>
            </a:r>
            <a:br>
              <a:rPr lang="en-US" noProof="0" dirty="0"/>
            </a:br>
            <a:r>
              <a:rPr lang="en-US" noProof="0" dirty="0"/>
              <a:t>Street 123</a:t>
            </a:r>
            <a:br>
              <a:rPr lang="en-US" noProof="0" dirty="0"/>
            </a:br>
            <a:r>
              <a:rPr lang="en-US" noProof="0" dirty="0"/>
              <a:t>1234 City – Country 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Mobile: +49 (0)123 45 67 89 0</a:t>
            </a:r>
          </a:p>
          <a:p>
            <a:r>
              <a:rPr lang="en-US" noProof="0" dirty="0"/>
              <a:t>E-mail:</a:t>
            </a:r>
            <a:br>
              <a:rPr lang="en-US" noProof="0" dirty="0"/>
            </a:br>
            <a:r>
              <a:rPr lang="en-US" noProof="0" dirty="0"/>
              <a:t>firstname.lastname@valmet-automotive.com </a:t>
            </a:r>
          </a:p>
        </p:txBody>
      </p: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E74B6CDD-37F3-4C3C-81B4-A734C1091F7E}"/>
              </a:ext>
            </a:extLst>
          </p:cNvPr>
          <p:cNvCxnSpPr>
            <a:cxnSpLocks/>
          </p:cNvCxnSpPr>
          <p:nvPr/>
        </p:nvCxnSpPr>
        <p:spPr>
          <a:xfrm flipV="1">
            <a:off x="6096001" y="1808165"/>
            <a:ext cx="0" cy="868360"/>
          </a:xfrm>
          <a:prstGeom prst="line">
            <a:avLst/>
          </a:prstGeom>
          <a:ln w="19050">
            <a:solidFill>
              <a:srgbClr val="DB0A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93660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Slide 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347" name="Picture 45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white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hteck 28">
            <a:extLst>
              <a:ext uri="{FF2B5EF4-FFF2-40B4-BE49-F238E27FC236}">
                <a16:creationId xmlns:a16="http://schemas.microsoft.com/office/drawing/2014/main" id="{2C6CCD9E-CB93-445E-9B46-A60C0EB1D60B}"/>
              </a:ext>
            </a:extLst>
          </p:cNvPr>
          <p:cNvSpPr/>
          <p:nvPr/>
        </p:nvSpPr>
        <p:spPr bwMode="hidden"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FDEC68A-1B81-45EB-8E78-C1409B5A1913}"/>
              </a:ext>
            </a:extLst>
          </p:cNvPr>
          <p:cNvSpPr/>
          <p:nvPr/>
        </p:nvSpPr>
        <p:spPr bwMode="black">
          <a:xfrm>
            <a:off x="763451" y="2767281"/>
            <a:ext cx="10665099" cy="132343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Teko" panose="02000000000000000000" pitchFamily="2" charset="0"/>
              </a:rPr>
              <a:t>THE FAST LANE TO FUTURE VEHICLES</a:t>
            </a:r>
            <a:endParaRPr lang="en-US" sz="8000" noProof="0" dirty="0">
              <a:solidFill>
                <a:schemeClr val="bg1"/>
              </a:solidFill>
              <a:latin typeface="+mj-lt"/>
              <a:cs typeface="Teko" panose="02000000000000000000" pitchFamily="2" charset="0"/>
            </a:endParaRPr>
          </a:p>
        </p:txBody>
      </p:sp>
      <p:grpSp>
        <p:nvGrpSpPr>
          <p:cNvPr id="26" name="Group 33">
            <a:extLst>
              <a:ext uri="{FF2B5EF4-FFF2-40B4-BE49-F238E27FC236}">
                <a16:creationId xmlns:a16="http://schemas.microsoft.com/office/drawing/2014/main" id="{B14FCE18-24EE-4500-8233-F7B948F9A9A1}"/>
              </a:ext>
            </a:extLst>
          </p:cNvPr>
          <p:cNvGrpSpPr>
            <a:grpSpLocks noChangeAspect="1"/>
          </p:cNvGrpSpPr>
          <p:nvPr/>
        </p:nvGrpSpPr>
        <p:grpSpPr bwMode="black">
          <a:xfrm>
            <a:off x="3883626" y="5277925"/>
            <a:ext cx="4354046" cy="1000336"/>
            <a:chOff x="-108" y="106"/>
            <a:chExt cx="4296" cy="987"/>
          </a:xfrm>
        </p:grpSpPr>
        <p:sp>
          <p:nvSpPr>
            <p:cNvPr id="27" name="Freeform 34">
              <a:extLst>
                <a:ext uri="{FF2B5EF4-FFF2-40B4-BE49-F238E27FC236}">
                  <a16:creationId xmlns:a16="http://schemas.microsoft.com/office/drawing/2014/main" id="{66A874BF-5D64-4BA0-8353-98BAD85F1498}"/>
                </a:ext>
              </a:extLst>
            </p:cNvPr>
            <p:cNvSpPr>
              <a:spLocks/>
            </p:cNvSpPr>
            <p:nvPr/>
          </p:nvSpPr>
          <p:spPr bwMode="black">
            <a:xfrm>
              <a:off x="1344" y="106"/>
              <a:ext cx="779" cy="536"/>
            </a:xfrm>
            <a:custGeom>
              <a:avLst/>
              <a:gdLst>
                <a:gd name="T0" fmla="*/ 458 w 476"/>
                <a:gd name="T1" fmla="*/ 111 h 327"/>
                <a:gd name="T2" fmla="*/ 284 w 476"/>
                <a:gd name="T3" fmla="*/ 285 h 327"/>
                <a:gd name="T4" fmla="*/ 199 w 476"/>
                <a:gd name="T5" fmla="*/ 285 h 327"/>
                <a:gd name="T6" fmla="*/ 51 w 476"/>
                <a:gd name="T7" fmla="*/ 136 h 327"/>
                <a:gd name="T8" fmla="*/ 51 w 476"/>
                <a:gd name="T9" fmla="*/ 51 h 327"/>
                <a:gd name="T10" fmla="*/ 136 w 476"/>
                <a:gd name="T11" fmla="*/ 51 h 327"/>
                <a:gd name="T12" fmla="*/ 242 w 476"/>
                <a:gd name="T13" fmla="*/ 157 h 327"/>
                <a:gd name="T14" fmla="*/ 348 w 476"/>
                <a:gd name="T15" fmla="*/ 51 h 327"/>
                <a:gd name="T16" fmla="*/ 433 w 476"/>
                <a:gd name="T17" fmla="*/ 51 h 327"/>
                <a:gd name="T18" fmla="*/ 458 w 476"/>
                <a:gd name="T19" fmla="*/ 76 h 327"/>
                <a:gd name="T20" fmla="*/ 476 w 476"/>
                <a:gd name="T21" fmla="*/ 59 h 327"/>
                <a:gd name="T22" fmla="*/ 451 w 476"/>
                <a:gd name="T23" fmla="*/ 34 h 327"/>
                <a:gd name="T24" fmla="*/ 331 w 476"/>
                <a:gd name="T25" fmla="*/ 34 h 327"/>
                <a:gd name="T26" fmla="*/ 242 w 476"/>
                <a:gd name="T27" fmla="*/ 122 h 327"/>
                <a:gd name="T28" fmla="*/ 153 w 476"/>
                <a:gd name="T29" fmla="*/ 34 h 327"/>
                <a:gd name="T30" fmla="*/ 33 w 476"/>
                <a:gd name="T31" fmla="*/ 34 h 327"/>
                <a:gd name="T32" fmla="*/ 33 w 476"/>
                <a:gd name="T33" fmla="*/ 154 h 327"/>
                <a:gd name="T34" fmla="*/ 182 w 476"/>
                <a:gd name="T35" fmla="*/ 302 h 327"/>
                <a:gd name="T36" fmla="*/ 242 w 476"/>
                <a:gd name="T37" fmla="*/ 327 h 327"/>
                <a:gd name="T38" fmla="*/ 302 w 476"/>
                <a:gd name="T39" fmla="*/ 302 h 327"/>
                <a:gd name="T40" fmla="*/ 476 w 476"/>
                <a:gd name="T41" fmla="*/ 129 h 327"/>
                <a:gd name="T42" fmla="*/ 458 w 476"/>
                <a:gd name="T43" fmla="*/ 1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76" h="327">
                  <a:moveTo>
                    <a:pt x="458" y="111"/>
                  </a:moveTo>
                  <a:cubicBezTo>
                    <a:pt x="284" y="285"/>
                    <a:pt x="284" y="285"/>
                    <a:pt x="284" y="285"/>
                  </a:cubicBezTo>
                  <a:cubicBezTo>
                    <a:pt x="261" y="308"/>
                    <a:pt x="223" y="308"/>
                    <a:pt x="199" y="285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27" y="113"/>
                    <a:pt x="27" y="75"/>
                    <a:pt x="51" y="51"/>
                  </a:cubicBezTo>
                  <a:cubicBezTo>
                    <a:pt x="74" y="28"/>
                    <a:pt x="112" y="28"/>
                    <a:pt x="136" y="51"/>
                  </a:cubicBezTo>
                  <a:cubicBezTo>
                    <a:pt x="242" y="157"/>
                    <a:pt x="242" y="157"/>
                    <a:pt x="242" y="157"/>
                  </a:cubicBezTo>
                  <a:cubicBezTo>
                    <a:pt x="348" y="51"/>
                    <a:pt x="348" y="51"/>
                    <a:pt x="348" y="51"/>
                  </a:cubicBezTo>
                  <a:cubicBezTo>
                    <a:pt x="372" y="28"/>
                    <a:pt x="410" y="28"/>
                    <a:pt x="433" y="51"/>
                  </a:cubicBezTo>
                  <a:cubicBezTo>
                    <a:pt x="458" y="76"/>
                    <a:pt x="458" y="76"/>
                    <a:pt x="458" y="76"/>
                  </a:cubicBezTo>
                  <a:cubicBezTo>
                    <a:pt x="476" y="59"/>
                    <a:pt x="476" y="59"/>
                    <a:pt x="476" y="59"/>
                  </a:cubicBezTo>
                  <a:cubicBezTo>
                    <a:pt x="451" y="34"/>
                    <a:pt x="451" y="34"/>
                    <a:pt x="451" y="34"/>
                  </a:cubicBezTo>
                  <a:cubicBezTo>
                    <a:pt x="418" y="0"/>
                    <a:pt x="364" y="0"/>
                    <a:pt x="331" y="34"/>
                  </a:cubicBezTo>
                  <a:cubicBezTo>
                    <a:pt x="242" y="122"/>
                    <a:pt x="242" y="122"/>
                    <a:pt x="242" y="122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20" y="0"/>
                    <a:pt x="66" y="0"/>
                    <a:pt x="33" y="34"/>
                  </a:cubicBezTo>
                  <a:cubicBezTo>
                    <a:pt x="0" y="67"/>
                    <a:pt x="0" y="121"/>
                    <a:pt x="33" y="154"/>
                  </a:cubicBezTo>
                  <a:cubicBezTo>
                    <a:pt x="182" y="302"/>
                    <a:pt x="182" y="302"/>
                    <a:pt x="182" y="302"/>
                  </a:cubicBezTo>
                  <a:cubicBezTo>
                    <a:pt x="198" y="319"/>
                    <a:pt x="220" y="327"/>
                    <a:pt x="242" y="327"/>
                  </a:cubicBezTo>
                  <a:cubicBezTo>
                    <a:pt x="264" y="327"/>
                    <a:pt x="285" y="319"/>
                    <a:pt x="302" y="302"/>
                  </a:cubicBezTo>
                  <a:cubicBezTo>
                    <a:pt x="476" y="129"/>
                    <a:pt x="476" y="129"/>
                    <a:pt x="476" y="129"/>
                  </a:cubicBezTo>
                  <a:lnTo>
                    <a:pt x="458" y="1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5">
              <a:extLst>
                <a:ext uri="{FF2B5EF4-FFF2-40B4-BE49-F238E27FC236}">
                  <a16:creationId xmlns:a16="http://schemas.microsoft.com/office/drawing/2014/main" id="{906AA9BA-7614-4426-A9E2-E77C34A1C995}"/>
                </a:ext>
              </a:extLst>
            </p:cNvPr>
            <p:cNvSpPr>
              <a:spLocks/>
            </p:cNvSpPr>
            <p:nvPr/>
          </p:nvSpPr>
          <p:spPr bwMode="black">
            <a:xfrm>
              <a:off x="1936" y="106"/>
              <a:ext cx="778" cy="551"/>
            </a:xfrm>
            <a:custGeom>
              <a:avLst/>
              <a:gdLst>
                <a:gd name="T0" fmla="*/ 443 w 476"/>
                <a:gd name="T1" fmla="*/ 182 h 336"/>
                <a:gd name="T2" fmla="*/ 294 w 476"/>
                <a:gd name="T3" fmla="*/ 34 h 336"/>
                <a:gd name="T4" fmla="*/ 174 w 476"/>
                <a:gd name="T5" fmla="*/ 34 h 336"/>
                <a:gd name="T6" fmla="*/ 114 w 476"/>
                <a:gd name="T7" fmla="*/ 94 h 336"/>
                <a:gd name="T8" fmla="*/ 131 w 476"/>
                <a:gd name="T9" fmla="*/ 111 h 336"/>
                <a:gd name="T10" fmla="*/ 191 w 476"/>
                <a:gd name="T11" fmla="*/ 51 h 336"/>
                <a:gd name="T12" fmla="*/ 276 w 476"/>
                <a:gd name="T13" fmla="*/ 51 h 336"/>
                <a:gd name="T14" fmla="*/ 425 w 476"/>
                <a:gd name="T15" fmla="*/ 200 h 336"/>
                <a:gd name="T16" fmla="*/ 425 w 476"/>
                <a:gd name="T17" fmla="*/ 285 h 336"/>
                <a:gd name="T18" fmla="*/ 340 w 476"/>
                <a:gd name="T19" fmla="*/ 285 h 336"/>
                <a:gd name="T20" fmla="*/ 234 w 476"/>
                <a:gd name="T21" fmla="*/ 179 h 336"/>
                <a:gd name="T22" fmla="*/ 128 w 476"/>
                <a:gd name="T23" fmla="*/ 285 h 336"/>
                <a:gd name="T24" fmla="*/ 43 w 476"/>
                <a:gd name="T25" fmla="*/ 285 h 336"/>
                <a:gd name="T26" fmla="*/ 18 w 476"/>
                <a:gd name="T27" fmla="*/ 260 h 336"/>
                <a:gd name="T28" fmla="*/ 0 w 476"/>
                <a:gd name="T29" fmla="*/ 277 h 336"/>
                <a:gd name="T30" fmla="*/ 25 w 476"/>
                <a:gd name="T31" fmla="*/ 302 h 336"/>
                <a:gd name="T32" fmla="*/ 145 w 476"/>
                <a:gd name="T33" fmla="*/ 302 h 336"/>
                <a:gd name="T34" fmla="*/ 234 w 476"/>
                <a:gd name="T35" fmla="*/ 214 h 336"/>
                <a:gd name="T36" fmla="*/ 323 w 476"/>
                <a:gd name="T37" fmla="*/ 302 h 336"/>
                <a:gd name="T38" fmla="*/ 443 w 476"/>
                <a:gd name="T39" fmla="*/ 302 h 336"/>
                <a:gd name="T40" fmla="*/ 443 w 476"/>
                <a:gd name="T41" fmla="*/ 18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6" h="336">
                  <a:moveTo>
                    <a:pt x="443" y="182"/>
                  </a:moveTo>
                  <a:cubicBezTo>
                    <a:pt x="294" y="34"/>
                    <a:pt x="294" y="34"/>
                    <a:pt x="294" y="34"/>
                  </a:cubicBezTo>
                  <a:cubicBezTo>
                    <a:pt x="261" y="0"/>
                    <a:pt x="207" y="0"/>
                    <a:pt x="174" y="34"/>
                  </a:cubicBezTo>
                  <a:cubicBezTo>
                    <a:pt x="114" y="94"/>
                    <a:pt x="114" y="94"/>
                    <a:pt x="114" y="94"/>
                  </a:cubicBezTo>
                  <a:cubicBezTo>
                    <a:pt x="131" y="111"/>
                    <a:pt x="131" y="111"/>
                    <a:pt x="131" y="111"/>
                  </a:cubicBezTo>
                  <a:cubicBezTo>
                    <a:pt x="191" y="51"/>
                    <a:pt x="191" y="51"/>
                    <a:pt x="191" y="51"/>
                  </a:cubicBezTo>
                  <a:cubicBezTo>
                    <a:pt x="215" y="28"/>
                    <a:pt x="253" y="28"/>
                    <a:pt x="276" y="51"/>
                  </a:cubicBezTo>
                  <a:cubicBezTo>
                    <a:pt x="425" y="200"/>
                    <a:pt x="425" y="200"/>
                    <a:pt x="425" y="200"/>
                  </a:cubicBezTo>
                  <a:cubicBezTo>
                    <a:pt x="449" y="223"/>
                    <a:pt x="449" y="261"/>
                    <a:pt x="425" y="285"/>
                  </a:cubicBezTo>
                  <a:cubicBezTo>
                    <a:pt x="402" y="308"/>
                    <a:pt x="364" y="308"/>
                    <a:pt x="340" y="285"/>
                  </a:cubicBezTo>
                  <a:cubicBezTo>
                    <a:pt x="234" y="179"/>
                    <a:pt x="234" y="179"/>
                    <a:pt x="234" y="179"/>
                  </a:cubicBezTo>
                  <a:cubicBezTo>
                    <a:pt x="128" y="285"/>
                    <a:pt x="128" y="285"/>
                    <a:pt x="128" y="285"/>
                  </a:cubicBezTo>
                  <a:cubicBezTo>
                    <a:pt x="104" y="308"/>
                    <a:pt x="66" y="308"/>
                    <a:pt x="43" y="285"/>
                  </a:cubicBezTo>
                  <a:cubicBezTo>
                    <a:pt x="18" y="260"/>
                    <a:pt x="18" y="260"/>
                    <a:pt x="18" y="260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25" y="302"/>
                    <a:pt x="25" y="302"/>
                    <a:pt x="25" y="302"/>
                  </a:cubicBezTo>
                  <a:cubicBezTo>
                    <a:pt x="58" y="336"/>
                    <a:pt x="112" y="336"/>
                    <a:pt x="145" y="302"/>
                  </a:cubicBezTo>
                  <a:cubicBezTo>
                    <a:pt x="234" y="214"/>
                    <a:pt x="234" y="214"/>
                    <a:pt x="234" y="214"/>
                  </a:cubicBezTo>
                  <a:cubicBezTo>
                    <a:pt x="323" y="302"/>
                    <a:pt x="323" y="302"/>
                    <a:pt x="323" y="302"/>
                  </a:cubicBezTo>
                  <a:cubicBezTo>
                    <a:pt x="356" y="336"/>
                    <a:pt x="410" y="336"/>
                    <a:pt x="443" y="302"/>
                  </a:cubicBezTo>
                  <a:cubicBezTo>
                    <a:pt x="476" y="269"/>
                    <a:pt x="476" y="215"/>
                    <a:pt x="443" y="182"/>
                  </a:cubicBezTo>
                </a:path>
              </a:pathLst>
            </a:custGeom>
            <a:solidFill>
              <a:srgbClr val="57C1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6">
              <a:extLst>
                <a:ext uri="{FF2B5EF4-FFF2-40B4-BE49-F238E27FC236}">
                  <a16:creationId xmlns:a16="http://schemas.microsoft.com/office/drawing/2014/main" id="{E415FA33-555B-4B1D-87EE-A2E602C1BD06}"/>
                </a:ext>
              </a:extLst>
            </p:cNvPr>
            <p:cNvSpPr>
              <a:spLocks/>
            </p:cNvSpPr>
            <p:nvPr/>
          </p:nvSpPr>
          <p:spPr bwMode="black">
            <a:xfrm>
              <a:off x="-108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3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3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7">
              <a:extLst>
                <a:ext uri="{FF2B5EF4-FFF2-40B4-BE49-F238E27FC236}">
                  <a16:creationId xmlns:a16="http://schemas.microsoft.com/office/drawing/2014/main" id="{94DF183D-A363-4947-826B-8E4ADBC149E8}"/>
                </a:ext>
              </a:extLst>
            </p:cNvPr>
            <p:cNvSpPr>
              <a:spLocks/>
            </p:cNvSpPr>
            <p:nvPr/>
          </p:nvSpPr>
          <p:spPr bwMode="black">
            <a:xfrm>
              <a:off x="3705" y="870"/>
              <a:ext cx="244" cy="219"/>
            </a:xfrm>
            <a:custGeom>
              <a:avLst/>
              <a:gdLst>
                <a:gd name="T0" fmla="*/ 190 w 244"/>
                <a:gd name="T1" fmla="*/ 0 h 219"/>
                <a:gd name="T2" fmla="*/ 121 w 244"/>
                <a:gd name="T3" fmla="*/ 146 h 219"/>
                <a:gd name="T4" fmla="*/ 54 w 244"/>
                <a:gd name="T5" fmla="*/ 0 h 219"/>
                <a:gd name="T6" fmla="*/ 0 w 244"/>
                <a:gd name="T7" fmla="*/ 0 h 219"/>
                <a:gd name="T8" fmla="*/ 105 w 244"/>
                <a:gd name="T9" fmla="*/ 219 h 219"/>
                <a:gd name="T10" fmla="*/ 139 w 244"/>
                <a:gd name="T11" fmla="*/ 219 h 219"/>
                <a:gd name="T12" fmla="*/ 244 w 244"/>
                <a:gd name="T13" fmla="*/ 0 h 219"/>
                <a:gd name="T14" fmla="*/ 190 w 244"/>
                <a:gd name="T1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4" h="219">
                  <a:moveTo>
                    <a:pt x="190" y="0"/>
                  </a:moveTo>
                  <a:lnTo>
                    <a:pt x="121" y="146"/>
                  </a:lnTo>
                  <a:lnTo>
                    <a:pt x="54" y="0"/>
                  </a:lnTo>
                  <a:lnTo>
                    <a:pt x="0" y="0"/>
                  </a:lnTo>
                  <a:lnTo>
                    <a:pt x="105" y="219"/>
                  </a:lnTo>
                  <a:lnTo>
                    <a:pt x="139" y="219"/>
                  </a:lnTo>
                  <a:lnTo>
                    <a:pt x="244" y="0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8">
              <a:extLst>
                <a:ext uri="{FF2B5EF4-FFF2-40B4-BE49-F238E27FC236}">
                  <a16:creationId xmlns:a16="http://schemas.microsoft.com/office/drawing/2014/main" id="{C0D21617-4EF0-4115-A352-E8B6B34B243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38" y="870"/>
              <a:ext cx="251" cy="219"/>
            </a:xfrm>
            <a:custGeom>
              <a:avLst/>
              <a:gdLst>
                <a:gd name="T0" fmla="*/ 126 w 251"/>
                <a:gd name="T1" fmla="*/ 62 h 219"/>
                <a:gd name="T2" fmla="*/ 162 w 251"/>
                <a:gd name="T3" fmla="*/ 142 h 219"/>
                <a:gd name="T4" fmla="*/ 90 w 251"/>
                <a:gd name="T5" fmla="*/ 142 h 219"/>
                <a:gd name="T6" fmla="*/ 126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4 w 251"/>
                <a:gd name="T13" fmla="*/ 219 h 219"/>
                <a:gd name="T14" fmla="*/ 72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4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6" y="62"/>
                  </a:moveTo>
                  <a:lnTo>
                    <a:pt x="162" y="142"/>
                  </a:lnTo>
                  <a:lnTo>
                    <a:pt x="90" y="142"/>
                  </a:lnTo>
                  <a:lnTo>
                    <a:pt x="126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4" y="219"/>
                  </a:lnTo>
                  <a:lnTo>
                    <a:pt x="72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4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9">
              <a:extLst>
                <a:ext uri="{FF2B5EF4-FFF2-40B4-BE49-F238E27FC236}">
                  <a16:creationId xmlns:a16="http://schemas.microsoft.com/office/drawing/2014/main" id="{84E373E0-9A04-4EC4-B012-587F315250BA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1590" y="870"/>
              <a:ext cx="251" cy="219"/>
            </a:xfrm>
            <a:custGeom>
              <a:avLst/>
              <a:gdLst>
                <a:gd name="T0" fmla="*/ 125 w 251"/>
                <a:gd name="T1" fmla="*/ 62 h 219"/>
                <a:gd name="T2" fmla="*/ 161 w 251"/>
                <a:gd name="T3" fmla="*/ 142 h 219"/>
                <a:gd name="T4" fmla="*/ 89 w 251"/>
                <a:gd name="T5" fmla="*/ 142 h 219"/>
                <a:gd name="T6" fmla="*/ 125 w 251"/>
                <a:gd name="T7" fmla="*/ 62 h 219"/>
                <a:gd name="T8" fmla="*/ 106 w 251"/>
                <a:gd name="T9" fmla="*/ 0 h 219"/>
                <a:gd name="T10" fmla="*/ 0 w 251"/>
                <a:gd name="T11" fmla="*/ 219 h 219"/>
                <a:gd name="T12" fmla="*/ 53 w 251"/>
                <a:gd name="T13" fmla="*/ 219 h 219"/>
                <a:gd name="T14" fmla="*/ 71 w 251"/>
                <a:gd name="T15" fmla="*/ 182 h 219"/>
                <a:gd name="T16" fmla="*/ 178 w 251"/>
                <a:gd name="T17" fmla="*/ 182 h 219"/>
                <a:gd name="T18" fmla="*/ 197 w 251"/>
                <a:gd name="T19" fmla="*/ 219 h 219"/>
                <a:gd name="T20" fmla="*/ 251 w 251"/>
                <a:gd name="T21" fmla="*/ 219 h 219"/>
                <a:gd name="T22" fmla="*/ 145 w 251"/>
                <a:gd name="T23" fmla="*/ 0 h 219"/>
                <a:gd name="T24" fmla="*/ 106 w 251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1" h="219">
                  <a:moveTo>
                    <a:pt x="125" y="62"/>
                  </a:moveTo>
                  <a:lnTo>
                    <a:pt x="161" y="142"/>
                  </a:lnTo>
                  <a:lnTo>
                    <a:pt x="89" y="142"/>
                  </a:lnTo>
                  <a:lnTo>
                    <a:pt x="125" y="62"/>
                  </a:lnTo>
                  <a:close/>
                  <a:moveTo>
                    <a:pt x="106" y="0"/>
                  </a:moveTo>
                  <a:lnTo>
                    <a:pt x="0" y="219"/>
                  </a:lnTo>
                  <a:lnTo>
                    <a:pt x="53" y="219"/>
                  </a:lnTo>
                  <a:lnTo>
                    <a:pt x="71" y="182"/>
                  </a:lnTo>
                  <a:lnTo>
                    <a:pt x="178" y="182"/>
                  </a:lnTo>
                  <a:lnTo>
                    <a:pt x="197" y="219"/>
                  </a:lnTo>
                  <a:lnTo>
                    <a:pt x="251" y="219"/>
                  </a:lnTo>
                  <a:lnTo>
                    <a:pt x="145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0">
              <a:extLst>
                <a:ext uri="{FF2B5EF4-FFF2-40B4-BE49-F238E27FC236}">
                  <a16:creationId xmlns:a16="http://schemas.microsoft.com/office/drawing/2014/main" id="{623B1BE8-4D6B-4A6C-8ADC-2490A67562E6}"/>
                </a:ext>
              </a:extLst>
            </p:cNvPr>
            <p:cNvSpPr>
              <a:spLocks/>
            </p:cNvSpPr>
            <p:nvPr/>
          </p:nvSpPr>
          <p:spPr bwMode="black">
            <a:xfrm>
              <a:off x="443" y="870"/>
              <a:ext cx="164" cy="219"/>
            </a:xfrm>
            <a:custGeom>
              <a:avLst/>
              <a:gdLst>
                <a:gd name="T0" fmla="*/ 0 w 164"/>
                <a:gd name="T1" fmla="*/ 0 h 219"/>
                <a:gd name="T2" fmla="*/ 0 w 164"/>
                <a:gd name="T3" fmla="*/ 219 h 219"/>
                <a:gd name="T4" fmla="*/ 164 w 164"/>
                <a:gd name="T5" fmla="*/ 219 h 219"/>
                <a:gd name="T6" fmla="*/ 164 w 164"/>
                <a:gd name="T7" fmla="*/ 177 h 219"/>
                <a:gd name="T8" fmla="*/ 51 w 164"/>
                <a:gd name="T9" fmla="*/ 177 h 219"/>
                <a:gd name="T10" fmla="*/ 51 w 164"/>
                <a:gd name="T11" fmla="*/ 0 h 219"/>
                <a:gd name="T12" fmla="*/ 0 w 164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219">
                  <a:moveTo>
                    <a:pt x="0" y="0"/>
                  </a:moveTo>
                  <a:lnTo>
                    <a:pt x="0" y="219"/>
                  </a:lnTo>
                  <a:lnTo>
                    <a:pt x="164" y="219"/>
                  </a:lnTo>
                  <a:lnTo>
                    <a:pt x="164" y="177"/>
                  </a:lnTo>
                  <a:lnTo>
                    <a:pt x="51" y="177"/>
                  </a:lnTo>
                  <a:lnTo>
                    <a:pt x="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1">
              <a:extLst>
                <a:ext uri="{FF2B5EF4-FFF2-40B4-BE49-F238E27FC236}">
                  <a16:creationId xmlns:a16="http://schemas.microsoft.com/office/drawing/2014/main" id="{08E8E421-852A-4A66-A085-02E4B295CD2E}"/>
                </a:ext>
              </a:extLst>
            </p:cNvPr>
            <p:cNvSpPr>
              <a:spLocks/>
            </p:cNvSpPr>
            <p:nvPr/>
          </p:nvSpPr>
          <p:spPr bwMode="black">
            <a:xfrm>
              <a:off x="667" y="870"/>
              <a:ext cx="259" cy="219"/>
            </a:xfrm>
            <a:custGeom>
              <a:avLst/>
              <a:gdLst>
                <a:gd name="T0" fmla="*/ 218 w 259"/>
                <a:gd name="T1" fmla="*/ 0 h 219"/>
                <a:gd name="T2" fmla="*/ 130 w 259"/>
                <a:gd name="T3" fmla="*/ 75 h 219"/>
                <a:gd name="T4" fmla="*/ 41 w 259"/>
                <a:gd name="T5" fmla="*/ 0 h 219"/>
                <a:gd name="T6" fmla="*/ 0 w 259"/>
                <a:gd name="T7" fmla="*/ 0 h 219"/>
                <a:gd name="T8" fmla="*/ 0 w 259"/>
                <a:gd name="T9" fmla="*/ 219 h 219"/>
                <a:gd name="T10" fmla="*/ 49 w 259"/>
                <a:gd name="T11" fmla="*/ 219 h 219"/>
                <a:gd name="T12" fmla="*/ 49 w 259"/>
                <a:gd name="T13" fmla="*/ 69 h 219"/>
                <a:gd name="T14" fmla="*/ 130 w 259"/>
                <a:gd name="T15" fmla="*/ 136 h 219"/>
                <a:gd name="T16" fmla="*/ 208 w 259"/>
                <a:gd name="T17" fmla="*/ 69 h 219"/>
                <a:gd name="T18" fmla="*/ 208 w 259"/>
                <a:gd name="T19" fmla="*/ 219 h 219"/>
                <a:gd name="T20" fmla="*/ 257 w 259"/>
                <a:gd name="T21" fmla="*/ 219 h 219"/>
                <a:gd name="T22" fmla="*/ 259 w 259"/>
                <a:gd name="T23" fmla="*/ 0 h 219"/>
                <a:gd name="T24" fmla="*/ 218 w 259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9" h="219">
                  <a:moveTo>
                    <a:pt x="218" y="0"/>
                  </a:moveTo>
                  <a:lnTo>
                    <a:pt x="130" y="75"/>
                  </a:lnTo>
                  <a:lnTo>
                    <a:pt x="41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30" y="136"/>
                  </a:lnTo>
                  <a:lnTo>
                    <a:pt x="208" y="69"/>
                  </a:lnTo>
                  <a:lnTo>
                    <a:pt x="208" y="219"/>
                  </a:lnTo>
                  <a:lnTo>
                    <a:pt x="257" y="219"/>
                  </a:lnTo>
                  <a:lnTo>
                    <a:pt x="259" y="0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42">
              <a:extLst>
                <a:ext uri="{FF2B5EF4-FFF2-40B4-BE49-F238E27FC236}">
                  <a16:creationId xmlns:a16="http://schemas.microsoft.com/office/drawing/2014/main" id="{68544BAF-04AE-42DB-8A46-01E5A60FBD04}"/>
                </a:ext>
              </a:extLst>
            </p:cNvPr>
            <p:cNvSpPr>
              <a:spLocks/>
            </p:cNvSpPr>
            <p:nvPr/>
          </p:nvSpPr>
          <p:spPr bwMode="black">
            <a:xfrm>
              <a:off x="2723" y="870"/>
              <a:ext cx="258" cy="219"/>
            </a:xfrm>
            <a:custGeom>
              <a:avLst/>
              <a:gdLst>
                <a:gd name="T0" fmla="*/ 217 w 258"/>
                <a:gd name="T1" fmla="*/ 0 h 219"/>
                <a:gd name="T2" fmla="*/ 129 w 258"/>
                <a:gd name="T3" fmla="*/ 75 h 219"/>
                <a:gd name="T4" fmla="*/ 40 w 258"/>
                <a:gd name="T5" fmla="*/ 0 h 219"/>
                <a:gd name="T6" fmla="*/ 0 w 258"/>
                <a:gd name="T7" fmla="*/ 0 h 219"/>
                <a:gd name="T8" fmla="*/ 0 w 258"/>
                <a:gd name="T9" fmla="*/ 219 h 219"/>
                <a:gd name="T10" fmla="*/ 49 w 258"/>
                <a:gd name="T11" fmla="*/ 219 h 219"/>
                <a:gd name="T12" fmla="*/ 49 w 258"/>
                <a:gd name="T13" fmla="*/ 69 h 219"/>
                <a:gd name="T14" fmla="*/ 129 w 258"/>
                <a:gd name="T15" fmla="*/ 136 h 219"/>
                <a:gd name="T16" fmla="*/ 207 w 258"/>
                <a:gd name="T17" fmla="*/ 69 h 219"/>
                <a:gd name="T18" fmla="*/ 207 w 258"/>
                <a:gd name="T19" fmla="*/ 219 h 219"/>
                <a:gd name="T20" fmla="*/ 256 w 258"/>
                <a:gd name="T21" fmla="*/ 219 h 219"/>
                <a:gd name="T22" fmla="*/ 258 w 258"/>
                <a:gd name="T23" fmla="*/ 0 h 219"/>
                <a:gd name="T24" fmla="*/ 217 w 258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8" h="219">
                  <a:moveTo>
                    <a:pt x="217" y="0"/>
                  </a:moveTo>
                  <a:lnTo>
                    <a:pt x="129" y="75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19"/>
                  </a:lnTo>
                  <a:lnTo>
                    <a:pt x="49" y="219"/>
                  </a:lnTo>
                  <a:lnTo>
                    <a:pt x="49" y="69"/>
                  </a:lnTo>
                  <a:lnTo>
                    <a:pt x="129" y="136"/>
                  </a:lnTo>
                  <a:lnTo>
                    <a:pt x="207" y="69"/>
                  </a:lnTo>
                  <a:lnTo>
                    <a:pt x="207" y="219"/>
                  </a:lnTo>
                  <a:lnTo>
                    <a:pt x="256" y="219"/>
                  </a:lnTo>
                  <a:lnTo>
                    <a:pt x="258" y="0"/>
                  </a:lnTo>
                  <a:lnTo>
                    <a:pt x="21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43">
              <a:extLst>
                <a:ext uri="{FF2B5EF4-FFF2-40B4-BE49-F238E27FC236}">
                  <a16:creationId xmlns:a16="http://schemas.microsoft.com/office/drawing/2014/main" id="{330591C4-6747-4E54-A57E-427E4A483D46}"/>
                </a:ext>
              </a:extLst>
            </p:cNvPr>
            <p:cNvSpPr>
              <a:spLocks/>
            </p:cNvSpPr>
            <p:nvPr/>
          </p:nvSpPr>
          <p:spPr bwMode="black">
            <a:xfrm>
              <a:off x="1004" y="870"/>
              <a:ext cx="183" cy="219"/>
            </a:xfrm>
            <a:custGeom>
              <a:avLst/>
              <a:gdLst>
                <a:gd name="T0" fmla="*/ 0 w 183"/>
                <a:gd name="T1" fmla="*/ 0 h 219"/>
                <a:gd name="T2" fmla="*/ 0 w 183"/>
                <a:gd name="T3" fmla="*/ 219 h 219"/>
                <a:gd name="T4" fmla="*/ 183 w 183"/>
                <a:gd name="T5" fmla="*/ 219 h 219"/>
                <a:gd name="T6" fmla="*/ 183 w 183"/>
                <a:gd name="T7" fmla="*/ 177 h 219"/>
                <a:gd name="T8" fmla="*/ 51 w 183"/>
                <a:gd name="T9" fmla="*/ 177 h 219"/>
                <a:gd name="T10" fmla="*/ 51 w 183"/>
                <a:gd name="T11" fmla="*/ 128 h 219"/>
                <a:gd name="T12" fmla="*/ 170 w 183"/>
                <a:gd name="T13" fmla="*/ 128 h 219"/>
                <a:gd name="T14" fmla="*/ 170 w 183"/>
                <a:gd name="T15" fmla="*/ 87 h 219"/>
                <a:gd name="T16" fmla="*/ 51 w 183"/>
                <a:gd name="T17" fmla="*/ 87 h 219"/>
                <a:gd name="T18" fmla="*/ 51 w 183"/>
                <a:gd name="T19" fmla="*/ 41 h 219"/>
                <a:gd name="T20" fmla="*/ 182 w 183"/>
                <a:gd name="T21" fmla="*/ 41 h 219"/>
                <a:gd name="T22" fmla="*/ 182 w 183"/>
                <a:gd name="T23" fmla="*/ 0 h 219"/>
                <a:gd name="T24" fmla="*/ 0 w 183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" h="219">
                  <a:moveTo>
                    <a:pt x="0" y="0"/>
                  </a:moveTo>
                  <a:lnTo>
                    <a:pt x="0" y="219"/>
                  </a:lnTo>
                  <a:lnTo>
                    <a:pt x="183" y="219"/>
                  </a:lnTo>
                  <a:lnTo>
                    <a:pt x="183" y="177"/>
                  </a:lnTo>
                  <a:lnTo>
                    <a:pt x="51" y="177"/>
                  </a:lnTo>
                  <a:lnTo>
                    <a:pt x="51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51" y="87"/>
                  </a:lnTo>
                  <a:lnTo>
                    <a:pt x="51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44">
              <a:extLst>
                <a:ext uri="{FF2B5EF4-FFF2-40B4-BE49-F238E27FC236}">
                  <a16:creationId xmlns:a16="http://schemas.microsoft.com/office/drawing/2014/main" id="{B277B08F-F9E3-4979-A03D-90FFD315A4D3}"/>
                </a:ext>
              </a:extLst>
            </p:cNvPr>
            <p:cNvSpPr>
              <a:spLocks/>
            </p:cNvSpPr>
            <p:nvPr/>
          </p:nvSpPr>
          <p:spPr bwMode="black">
            <a:xfrm>
              <a:off x="4004" y="870"/>
              <a:ext cx="184" cy="219"/>
            </a:xfrm>
            <a:custGeom>
              <a:avLst/>
              <a:gdLst>
                <a:gd name="T0" fmla="*/ 0 w 184"/>
                <a:gd name="T1" fmla="*/ 0 h 219"/>
                <a:gd name="T2" fmla="*/ 0 w 184"/>
                <a:gd name="T3" fmla="*/ 219 h 219"/>
                <a:gd name="T4" fmla="*/ 184 w 184"/>
                <a:gd name="T5" fmla="*/ 219 h 219"/>
                <a:gd name="T6" fmla="*/ 184 w 184"/>
                <a:gd name="T7" fmla="*/ 177 h 219"/>
                <a:gd name="T8" fmla="*/ 49 w 184"/>
                <a:gd name="T9" fmla="*/ 177 h 219"/>
                <a:gd name="T10" fmla="*/ 49 w 184"/>
                <a:gd name="T11" fmla="*/ 128 h 219"/>
                <a:gd name="T12" fmla="*/ 170 w 184"/>
                <a:gd name="T13" fmla="*/ 128 h 219"/>
                <a:gd name="T14" fmla="*/ 170 w 184"/>
                <a:gd name="T15" fmla="*/ 87 h 219"/>
                <a:gd name="T16" fmla="*/ 49 w 184"/>
                <a:gd name="T17" fmla="*/ 87 h 219"/>
                <a:gd name="T18" fmla="*/ 49 w 184"/>
                <a:gd name="T19" fmla="*/ 41 h 219"/>
                <a:gd name="T20" fmla="*/ 182 w 184"/>
                <a:gd name="T21" fmla="*/ 41 h 219"/>
                <a:gd name="T22" fmla="*/ 182 w 184"/>
                <a:gd name="T23" fmla="*/ 0 h 219"/>
                <a:gd name="T24" fmla="*/ 0 w 184"/>
                <a:gd name="T2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4" h="219">
                  <a:moveTo>
                    <a:pt x="0" y="0"/>
                  </a:moveTo>
                  <a:lnTo>
                    <a:pt x="0" y="219"/>
                  </a:lnTo>
                  <a:lnTo>
                    <a:pt x="184" y="219"/>
                  </a:lnTo>
                  <a:lnTo>
                    <a:pt x="184" y="177"/>
                  </a:lnTo>
                  <a:lnTo>
                    <a:pt x="49" y="177"/>
                  </a:lnTo>
                  <a:lnTo>
                    <a:pt x="49" y="128"/>
                  </a:lnTo>
                  <a:lnTo>
                    <a:pt x="170" y="128"/>
                  </a:lnTo>
                  <a:lnTo>
                    <a:pt x="170" y="87"/>
                  </a:lnTo>
                  <a:lnTo>
                    <a:pt x="49" y="87"/>
                  </a:lnTo>
                  <a:lnTo>
                    <a:pt x="49" y="41"/>
                  </a:lnTo>
                  <a:lnTo>
                    <a:pt x="182" y="41"/>
                  </a:lnTo>
                  <a:lnTo>
                    <a:pt x="18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45">
              <a:extLst>
                <a:ext uri="{FF2B5EF4-FFF2-40B4-BE49-F238E27FC236}">
                  <a16:creationId xmlns:a16="http://schemas.microsoft.com/office/drawing/2014/main" id="{D3B446BA-81B7-4129-8035-1AC7E91D496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231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5 w 218"/>
                <a:gd name="T5" fmla="*/ 41 h 219"/>
                <a:gd name="T6" fmla="*/ 85 w 218"/>
                <a:gd name="T7" fmla="*/ 219 h 219"/>
                <a:gd name="T8" fmla="*/ 135 w 218"/>
                <a:gd name="T9" fmla="*/ 219 h 219"/>
                <a:gd name="T10" fmla="*/ 135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5" y="219"/>
                  </a:lnTo>
                  <a:lnTo>
                    <a:pt x="135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6">
              <a:extLst>
                <a:ext uri="{FF2B5EF4-FFF2-40B4-BE49-F238E27FC236}">
                  <a16:creationId xmlns:a16="http://schemas.microsoft.com/office/drawing/2014/main" id="{5B297AD2-2B79-45FE-873B-49A77F21821E}"/>
                </a:ext>
              </a:extLst>
            </p:cNvPr>
            <p:cNvSpPr>
              <a:spLocks/>
            </p:cNvSpPr>
            <p:nvPr/>
          </p:nvSpPr>
          <p:spPr bwMode="black">
            <a:xfrm>
              <a:off x="2160" y="870"/>
              <a:ext cx="218" cy="219"/>
            </a:xfrm>
            <a:custGeom>
              <a:avLst/>
              <a:gdLst>
                <a:gd name="T0" fmla="*/ 0 w 218"/>
                <a:gd name="T1" fmla="*/ 0 h 219"/>
                <a:gd name="T2" fmla="*/ 0 w 218"/>
                <a:gd name="T3" fmla="*/ 41 h 219"/>
                <a:gd name="T4" fmla="*/ 84 w 218"/>
                <a:gd name="T5" fmla="*/ 41 h 219"/>
                <a:gd name="T6" fmla="*/ 84 w 218"/>
                <a:gd name="T7" fmla="*/ 219 h 219"/>
                <a:gd name="T8" fmla="*/ 134 w 218"/>
                <a:gd name="T9" fmla="*/ 219 h 219"/>
                <a:gd name="T10" fmla="*/ 134 w 218"/>
                <a:gd name="T11" fmla="*/ 41 h 219"/>
                <a:gd name="T12" fmla="*/ 218 w 218"/>
                <a:gd name="T13" fmla="*/ 41 h 219"/>
                <a:gd name="T14" fmla="*/ 218 w 218"/>
                <a:gd name="T15" fmla="*/ 0 h 219"/>
                <a:gd name="T16" fmla="*/ 0 w 218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8" h="219">
                  <a:moveTo>
                    <a:pt x="0" y="0"/>
                  </a:moveTo>
                  <a:lnTo>
                    <a:pt x="0" y="41"/>
                  </a:lnTo>
                  <a:lnTo>
                    <a:pt x="84" y="41"/>
                  </a:lnTo>
                  <a:lnTo>
                    <a:pt x="84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8" y="41"/>
                  </a:lnTo>
                  <a:lnTo>
                    <a:pt x="21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7">
              <a:extLst>
                <a:ext uri="{FF2B5EF4-FFF2-40B4-BE49-F238E27FC236}">
                  <a16:creationId xmlns:a16="http://schemas.microsoft.com/office/drawing/2014/main" id="{0707F680-0A1B-4DF6-8D08-634B2DAABE62}"/>
                </a:ext>
              </a:extLst>
            </p:cNvPr>
            <p:cNvSpPr>
              <a:spLocks/>
            </p:cNvSpPr>
            <p:nvPr/>
          </p:nvSpPr>
          <p:spPr bwMode="black">
            <a:xfrm>
              <a:off x="3324" y="870"/>
              <a:ext cx="219" cy="219"/>
            </a:xfrm>
            <a:custGeom>
              <a:avLst/>
              <a:gdLst>
                <a:gd name="T0" fmla="*/ 0 w 219"/>
                <a:gd name="T1" fmla="*/ 0 h 219"/>
                <a:gd name="T2" fmla="*/ 0 w 219"/>
                <a:gd name="T3" fmla="*/ 41 h 219"/>
                <a:gd name="T4" fmla="*/ 85 w 219"/>
                <a:gd name="T5" fmla="*/ 41 h 219"/>
                <a:gd name="T6" fmla="*/ 85 w 219"/>
                <a:gd name="T7" fmla="*/ 219 h 219"/>
                <a:gd name="T8" fmla="*/ 134 w 219"/>
                <a:gd name="T9" fmla="*/ 219 h 219"/>
                <a:gd name="T10" fmla="*/ 134 w 219"/>
                <a:gd name="T11" fmla="*/ 41 h 219"/>
                <a:gd name="T12" fmla="*/ 219 w 219"/>
                <a:gd name="T13" fmla="*/ 41 h 219"/>
                <a:gd name="T14" fmla="*/ 219 w 219"/>
                <a:gd name="T15" fmla="*/ 0 h 219"/>
                <a:gd name="T16" fmla="*/ 0 w 219"/>
                <a:gd name="T17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219">
                  <a:moveTo>
                    <a:pt x="0" y="0"/>
                  </a:moveTo>
                  <a:lnTo>
                    <a:pt x="0" y="41"/>
                  </a:lnTo>
                  <a:lnTo>
                    <a:pt x="85" y="41"/>
                  </a:lnTo>
                  <a:lnTo>
                    <a:pt x="85" y="219"/>
                  </a:lnTo>
                  <a:lnTo>
                    <a:pt x="134" y="219"/>
                  </a:lnTo>
                  <a:lnTo>
                    <a:pt x="134" y="41"/>
                  </a:lnTo>
                  <a:lnTo>
                    <a:pt x="219" y="41"/>
                  </a:lnTo>
                  <a:lnTo>
                    <a:pt x="2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8">
              <a:extLst>
                <a:ext uri="{FF2B5EF4-FFF2-40B4-BE49-F238E27FC236}">
                  <a16:creationId xmlns:a16="http://schemas.microsoft.com/office/drawing/2014/main" id="{3291AEDA-A08A-4DA4-B3E4-633FA19DEBA2}"/>
                </a:ext>
              </a:extLst>
            </p:cNvPr>
            <p:cNvSpPr>
              <a:spLocks/>
            </p:cNvSpPr>
            <p:nvPr/>
          </p:nvSpPr>
          <p:spPr bwMode="black">
            <a:xfrm>
              <a:off x="1882" y="870"/>
              <a:ext cx="224" cy="223"/>
            </a:xfrm>
            <a:custGeom>
              <a:avLst/>
              <a:gdLst>
                <a:gd name="T0" fmla="*/ 106 w 137"/>
                <a:gd name="T1" fmla="*/ 0 h 136"/>
                <a:gd name="T2" fmla="*/ 137 w 137"/>
                <a:gd name="T3" fmla="*/ 0 h 136"/>
                <a:gd name="T4" fmla="*/ 137 w 137"/>
                <a:gd name="T5" fmla="*/ 70 h 136"/>
                <a:gd name="T6" fmla="*/ 68 w 137"/>
                <a:gd name="T7" fmla="*/ 136 h 136"/>
                <a:gd name="T8" fmla="*/ 0 w 137"/>
                <a:gd name="T9" fmla="*/ 70 h 136"/>
                <a:gd name="T10" fmla="*/ 0 w 137"/>
                <a:gd name="T11" fmla="*/ 0 h 136"/>
                <a:gd name="T12" fmla="*/ 30 w 137"/>
                <a:gd name="T13" fmla="*/ 0 h 136"/>
                <a:gd name="T14" fmla="*/ 30 w 137"/>
                <a:gd name="T15" fmla="*/ 70 h 136"/>
                <a:gd name="T16" fmla="*/ 68 w 137"/>
                <a:gd name="T17" fmla="*/ 111 h 136"/>
                <a:gd name="T18" fmla="*/ 106 w 137"/>
                <a:gd name="T19" fmla="*/ 70 h 136"/>
                <a:gd name="T20" fmla="*/ 106 w 137"/>
                <a:gd name="T2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7" h="136">
                  <a:moveTo>
                    <a:pt x="106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7" y="70"/>
                    <a:pt x="137" y="70"/>
                    <a:pt x="137" y="70"/>
                  </a:cubicBezTo>
                  <a:cubicBezTo>
                    <a:pt x="137" y="113"/>
                    <a:pt x="110" y="136"/>
                    <a:pt x="68" y="136"/>
                  </a:cubicBezTo>
                  <a:cubicBezTo>
                    <a:pt x="27" y="136"/>
                    <a:pt x="0" y="113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97"/>
                    <a:pt x="44" y="111"/>
                    <a:pt x="68" y="111"/>
                  </a:cubicBezTo>
                  <a:cubicBezTo>
                    <a:pt x="93" y="111"/>
                    <a:pt x="106" y="97"/>
                    <a:pt x="106" y="70"/>
                  </a:cubicBezTo>
                  <a:lnTo>
                    <a:pt x="10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9">
              <a:extLst>
                <a:ext uri="{FF2B5EF4-FFF2-40B4-BE49-F238E27FC236}">
                  <a16:creationId xmlns:a16="http://schemas.microsoft.com/office/drawing/2014/main" id="{DDECA094-527A-4AAA-8A3F-28642E2626D0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2412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5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5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50">
              <a:extLst>
                <a:ext uri="{FF2B5EF4-FFF2-40B4-BE49-F238E27FC236}">
                  <a16:creationId xmlns:a16="http://schemas.microsoft.com/office/drawing/2014/main" id="{661D74B7-0709-4939-B153-F92E0CD59F4B}"/>
                </a:ext>
              </a:extLst>
            </p:cNvPr>
            <p:cNvSpPr>
              <a:spLocks noEditPoints="1"/>
            </p:cNvSpPr>
            <p:nvPr/>
          </p:nvSpPr>
          <p:spPr bwMode="black">
            <a:xfrm>
              <a:off x="3048" y="866"/>
              <a:ext cx="242" cy="227"/>
            </a:xfrm>
            <a:custGeom>
              <a:avLst/>
              <a:gdLst>
                <a:gd name="T0" fmla="*/ 31 w 148"/>
                <a:gd name="T1" fmla="*/ 69 h 138"/>
                <a:gd name="T2" fmla="*/ 74 w 148"/>
                <a:gd name="T3" fmla="*/ 113 h 138"/>
                <a:gd name="T4" fmla="*/ 118 w 148"/>
                <a:gd name="T5" fmla="*/ 69 h 138"/>
                <a:gd name="T6" fmla="*/ 74 w 148"/>
                <a:gd name="T7" fmla="*/ 25 h 138"/>
                <a:gd name="T8" fmla="*/ 31 w 148"/>
                <a:gd name="T9" fmla="*/ 69 h 138"/>
                <a:gd name="T10" fmla="*/ 148 w 148"/>
                <a:gd name="T11" fmla="*/ 69 h 138"/>
                <a:gd name="T12" fmla="*/ 74 w 148"/>
                <a:gd name="T13" fmla="*/ 138 h 138"/>
                <a:gd name="T14" fmla="*/ 0 w 148"/>
                <a:gd name="T15" fmla="*/ 69 h 138"/>
                <a:gd name="T16" fmla="*/ 74 w 148"/>
                <a:gd name="T17" fmla="*/ 0 h 138"/>
                <a:gd name="T18" fmla="*/ 148 w 148"/>
                <a:gd name="T19" fmla="*/ 6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38">
                  <a:moveTo>
                    <a:pt x="31" y="69"/>
                  </a:moveTo>
                  <a:cubicBezTo>
                    <a:pt x="31" y="96"/>
                    <a:pt x="51" y="113"/>
                    <a:pt x="74" y="113"/>
                  </a:cubicBezTo>
                  <a:cubicBezTo>
                    <a:pt x="98" y="113"/>
                    <a:pt x="118" y="96"/>
                    <a:pt x="118" y="69"/>
                  </a:cubicBezTo>
                  <a:cubicBezTo>
                    <a:pt x="118" y="42"/>
                    <a:pt x="98" y="25"/>
                    <a:pt x="74" y="25"/>
                  </a:cubicBezTo>
                  <a:cubicBezTo>
                    <a:pt x="51" y="25"/>
                    <a:pt x="31" y="42"/>
                    <a:pt x="31" y="69"/>
                  </a:cubicBezTo>
                  <a:moveTo>
                    <a:pt x="148" y="69"/>
                  </a:moveTo>
                  <a:cubicBezTo>
                    <a:pt x="148" y="111"/>
                    <a:pt x="114" y="138"/>
                    <a:pt x="74" y="138"/>
                  </a:cubicBezTo>
                  <a:cubicBezTo>
                    <a:pt x="34" y="138"/>
                    <a:pt x="0" y="111"/>
                    <a:pt x="0" y="69"/>
                  </a:cubicBezTo>
                  <a:cubicBezTo>
                    <a:pt x="0" y="27"/>
                    <a:pt x="34" y="0"/>
                    <a:pt x="74" y="0"/>
                  </a:cubicBezTo>
                  <a:cubicBezTo>
                    <a:pt x="114" y="0"/>
                    <a:pt x="148" y="27"/>
                    <a:pt x="14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51">
              <a:extLst>
                <a:ext uri="{FF2B5EF4-FFF2-40B4-BE49-F238E27FC236}">
                  <a16:creationId xmlns:a16="http://schemas.microsoft.com/office/drawing/2014/main" id="{140DFB49-E5EB-4DCD-96CA-462B08114FA6}"/>
                </a:ext>
              </a:extLst>
            </p:cNvPr>
            <p:cNvSpPr>
              <a:spLocks noChangeArrowheads="1"/>
            </p:cNvSpPr>
            <p:nvPr/>
          </p:nvSpPr>
          <p:spPr bwMode="black">
            <a:xfrm>
              <a:off x="3599" y="870"/>
              <a:ext cx="51" cy="2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6370411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800" y="1807199"/>
            <a:ext cx="10515600" cy="445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5E4942-32EB-4D06-B154-4347DF2C3D5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25C4D2-0EAB-4586-BA9F-D206950D28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35318030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A66F87A-915A-444A-9B4F-0E56399C0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800" y="1807199"/>
            <a:ext cx="10515600" cy="44570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4E01718-A691-467B-8A3A-FCBEB4EC1DC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799" y="6408000"/>
            <a:ext cx="4680000" cy="123111"/>
          </a:xfrm>
        </p:spPr>
        <p:txBody>
          <a:bodyPr anchor="b" anchorCtr="0">
            <a:spAutoFit/>
          </a:bodyPr>
          <a:lstStyle>
            <a:lvl1pPr>
              <a:buNone/>
              <a:defRPr sz="800" i="0">
                <a:solidFill>
                  <a:srgbClr val="1C252C"/>
                </a:solidFill>
              </a:defRPr>
            </a:lvl1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8F4414A-8256-4572-B4FA-5950424C0C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1C252C"/>
                </a:solidFill>
              </a:defRPr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935412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A5FA2D5-45D8-4D84-84BF-65A3C6D05A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1808163"/>
            <a:ext cx="10512425" cy="430887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760AD3C-9E70-4568-B268-86E68DAA9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97113"/>
            <a:ext cx="10515600" cy="3967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1F2DF3-7914-4E19-BD1D-8E2B779F1C9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4D6894-1648-4E3C-9EF4-EFF31680407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2894309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D21EA89-1D27-4EB1-B7F7-9FF56C6BB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800" y="1807200"/>
            <a:ext cx="5148000" cy="44570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6400" y="1807200"/>
            <a:ext cx="5148000" cy="4457075"/>
          </a:xfrm>
        </p:spPr>
        <p:txBody>
          <a:bodyPr vert="horz" lIns="0" tIns="0" rIns="0" bIns="0" rtlCol="0">
            <a:noAutofit/>
          </a:bodyPr>
          <a:lstStyle>
            <a:lvl1pPr>
              <a:defRPr lang="en-US" altLang="zh-CN" noProof="0" dirty="0"/>
            </a:lvl1pPr>
            <a:lvl2pPr>
              <a:defRPr lang="en-US" altLang="zh-CN" noProof="0" dirty="0"/>
            </a:lvl2pPr>
            <a:lvl3pPr>
              <a:defRPr lang="en-US" altLang="zh-CN" noProof="0" dirty="0"/>
            </a:lvl3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DA4707-7523-418C-95C5-12A85BD5D6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799" y="6408000"/>
            <a:ext cx="4680000" cy="123111"/>
          </a:xfrm>
        </p:spPr>
        <p:txBody>
          <a:bodyPr anchor="b" anchorCtr="0">
            <a:spAutoFit/>
          </a:bodyPr>
          <a:lstStyle>
            <a:lvl1pPr>
              <a:buNone/>
              <a:defRPr sz="800" i="0">
                <a:solidFill>
                  <a:srgbClr val="1C252C"/>
                </a:solidFill>
              </a:defRPr>
            </a:lvl1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3BB56A39-535B-4067-9822-0798F36270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1C252C"/>
                </a:solidFill>
              </a:defRPr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</p:spTree>
    <p:extLst>
      <p:ext uri="{BB962C8B-B14F-4D97-AF65-F5344CB8AC3E}">
        <p14:creationId xmlns:p14="http://schemas.microsoft.com/office/powerpoint/2010/main" val="262523684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9D1CC86-33DA-44FF-B2CA-EC7907182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5A17A74-2B7F-465D-A559-D191B627F8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800" y="1807199"/>
            <a:ext cx="5148000" cy="44570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93E55A0-6096-4470-8F02-2BB448F828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6400" y="1807199"/>
            <a:ext cx="5148000" cy="44570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02F1003-84E3-4333-8071-4E41B4767F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799" y="6408000"/>
            <a:ext cx="4680000" cy="123111"/>
          </a:xfrm>
        </p:spPr>
        <p:txBody>
          <a:bodyPr anchor="b" anchorCtr="0">
            <a:spAutoFit/>
          </a:bodyPr>
          <a:lstStyle>
            <a:lvl1pPr>
              <a:buNone/>
              <a:defRPr sz="800" i="0">
                <a:solidFill>
                  <a:srgbClr val="1C252C"/>
                </a:solidFill>
              </a:defRPr>
            </a:lvl1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90D9EAC6-55D1-4EAB-A7ED-D43A571D78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rgbClr val="1C252C"/>
                </a:solidFill>
              </a:defRPr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6802513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8B90BD4D-A6BE-402F-8CF4-AFC8C206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788" y="1808163"/>
            <a:ext cx="5148000" cy="43088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0C5323-6B83-47CD-9FAF-301DCAB702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297113"/>
            <a:ext cx="5148000" cy="396716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6400" y="1808163"/>
            <a:ext cx="5148000" cy="43088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  <a:p>
            <a:pPr lvl="0"/>
            <a:endParaRPr lang="en-US" noProof="0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E9DD858-5D21-484C-AB7B-393508B4F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6400" y="2297113"/>
            <a:ext cx="5148000" cy="396716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4B2D14-503A-4F9B-9586-90716D0D834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3ABD31-28AF-460E-BDAA-33779A2CE18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60223682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4FB770C-F5FB-4662-8651-D6931D015B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1166218"/>
            <a:ext cx="10515600" cy="307777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cap="all" baseline="0"/>
            </a:lvl1pPr>
          </a:lstStyle>
          <a:p>
            <a:r>
              <a:rPr lang="en-US" sz="2000" b="0" cap="none" dirty="0">
                <a:solidFill>
                  <a:schemeClr val="tx1"/>
                </a:solidFill>
              </a:rPr>
              <a:t>CLICK TO EDIT SUBTITLE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808163"/>
            <a:ext cx="5148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itl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D872B2D7-878C-4FFF-9AF9-6951D4DAA2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2297113"/>
            <a:ext cx="51480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Text level 1</a:t>
            </a:r>
          </a:p>
          <a:p>
            <a:pPr lvl="2"/>
            <a:r>
              <a:rPr lang="en-US" noProof="0" dirty="0"/>
              <a:t>Text level 2</a:t>
            </a:r>
          </a:p>
          <a:p>
            <a:pPr lvl="3"/>
            <a:r>
              <a:rPr lang="en-US" noProof="0" dirty="0"/>
              <a:t>Text level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C4854AB8-41BB-41A1-8A48-109A7F3BE1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6400" y="1808163"/>
            <a:ext cx="5148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b="1">
                <a:solidFill>
                  <a:schemeClr val="tx1"/>
                </a:solidFill>
              </a:defRPr>
            </a:lvl1pPr>
            <a:lvl2pPr marL="180000" indent="0">
              <a:spcBef>
                <a:spcPts val="0"/>
              </a:spcBef>
              <a:buNone/>
              <a:defRPr/>
            </a:lvl2pPr>
            <a:lvl3pPr marL="360000" indent="0">
              <a:spcBef>
                <a:spcPts val="0"/>
              </a:spcBef>
              <a:buNone/>
              <a:defRPr/>
            </a:lvl3pPr>
            <a:lvl4pPr marL="540000" indent="0">
              <a:spcBef>
                <a:spcPts val="0"/>
              </a:spcBef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itle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4854AB8-41BB-41A1-8A48-109A7F3BE1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6400" y="2297113"/>
            <a:ext cx="5148000" cy="1092607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Text level 1</a:t>
            </a:r>
          </a:p>
          <a:p>
            <a:pPr lvl="2"/>
            <a:r>
              <a:rPr lang="en-US" noProof="0"/>
              <a:t>Text level 2</a:t>
            </a:r>
          </a:p>
          <a:p>
            <a:pPr lvl="3"/>
            <a:r>
              <a:rPr lang="en-US" noProof="0"/>
              <a:t>Text level 3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6408403"/>
            <a:ext cx="46800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Source 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6273800"/>
            <a:ext cx="10515600" cy="123111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None/>
              <a:defRPr sz="800" baseline="0"/>
            </a:lvl1pPr>
            <a:lvl2pPr marL="180000" indent="0">
              <a:buNone/>
              <a:defRPr sz="800"/>
            </a:lvl2pPr>
            <a:lvl3pPr marL="360000" indent="0">
              <a:buNone/>
              <a:defRPr sz="800"/>
            </a:lvl3pPr>
            <a:lvl4pPr marL="540000" indent="0">
              <a:buNone/>
              <a:defRPr sz="800"/>
            </a:lvl4pPr>
            <a:lvl5pPr marL="720000" indent="0">
              <a:buNone/>
              <a:defRPr sz="800"/>
            </a:lvl5pPr>
          </a:lstStyle>
          <a:p>
            <a:r>
              <a:rPr lang="en-US" sz="800" dirty="0"/>
              <a:t>Footnot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D57AB83-3A51-41B8-9E70-A6E57ECB534B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00539E-81BE-4228-9486-85C1F4AD75F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77713893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1FF0BC3-97CD-425F-A86D-093ABDA9D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80783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1FF0BC3-97CD-425F-A86D-093ABDA9D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4575201-3785-46F8-8E99-FD1859048A0F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rgbClr val="000000"/>
              </a:solidFill>
              <a:latin typeface="Teko" panose="02000000000000000000" pitchFamily="2" charset="0"/>
              <a:ea typeface="+mj-ea"/>
              <a:cs typeface="+mj-cs"/>
              <a:sym typeface="Teko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800" y="622800"/>
            <a:ext cx="10515600" cy="67710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altLang="zh-CN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800" y="1807200"/>
            <a:ext cx="10515600" cy="446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4</a:t>
            </a:r>
          </a:p>
          <a:p>
            <a:pPr lvl="4"/>
            <a:r>
              <a:rPr lang="en-US" noProof="0" dirty="0"/>
              <a:t>5</a:t>
            </a:r>
          </a:p>
          <a:p>
            <a:pPr lvl="5"/>
            <a:r>
              <a:rPr lang="en-US" noProof="0" dirty="0"/>
              <a:t>6</a:t>
            </a:r>
          </a:p>
          <a:p>
            <a:pPr lvl="6"/>
            <a:r>
              <a:rPr lang="en-US" noProof="0" dirty="0"/>
              <a:t>7</a:t>
            </a:r>
          </a:p>
          <a:p>
            <a:pPr lvl="7"/>
            <a:r>
              <a:rPr lang="en-US" noProof="0" dirty="0"/>
              <a:t>8</a:t>
            </a:r>
          </a:p>
          <a:p>
            <a:pPr lvl="8"/>
            <a:r>
              <a:rPr lang="en-US" noProof="0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136000" y="6573600"/>
            <a:ext cx="2784000" cy="140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C7C7C8"/>
                </a:solidFill>
              </a:defRPr>
            </a:lvl1pPr>
          </a:lstStyle>
          <a:p>
            <a:r>
              <a:rPr lang="en-GB"/>
              <a:t>Date-Author</a:t>
            </a:r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38800" y="6573600"/>
            <a:ext cx="1117294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900" noProof="0">
                <a:solidFill>
                  <a:srgbClr val="C7C7C8"/>
                </a:solidFill>
              </a:rPr>
              <a:t>©</a:t>
            </a:r>
            <a:r>
              <a:rPr lang="en-US" sz="900" baseline="0" noProof="0">
                <a:solidFill>
                  <a:srgbClr val="C7C7C8"/>
                </a:solidFill>
              </a:rPr>
              <a:t> Valmet Automotive</a:t>
            </a:r>
            <a:endParaRPr lang="en-US" sz="900" noProof="0">
              <a:solidFill>
                <a:srgbClr val="C7C7C8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800" y="108000"/>
            <a:ext cx="288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 cap="all" baseline="0">
                <a:solidFill>
                  <a:srgbClr val="DB0A33"/>
                </a:solidFill>
              </a:defRPr>
            </a:lvl1pPr>
          </a:lstStyle>
          <a:p>
            <a:r>
              <a:rPr lang="en-US"/>
              <a:t>INTERNAL</a:t>
            </a:r>
          </a:p>
        </p:txBody>
      </p:sp>
      <p:grpSp>
        <p:nvGrpSpPr>
          <p:cNvPr id="10" name="Group 72">
            <a:extLst>
              <a:ext uri="{FF2B5EF4-FFF2-40B4-BE49-F238E27FC236}">
                <a16:creationId xmlns:a16="http://schemas.microsoft.com/office/drawing/2014/main" id="{A87E2D65-24AC-44DF-9B15-3A7A3915A6C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775847" y="6473951"/>
            <a:ext cx="621281" cy="248549"/>
            <a:chOff x="438" y="797"/>
            <a:chExt cx="6804" cy="2722"/>
          </a:xfrm>
        </p:grpSpPr>
        <p:sp>
          <p:nvSpPr>
            <p:cNvPr id="11" name="Freeform 73">
              <a:extLst>
                <a:ext uri="{FF2B5EF4-FFF2-40B4-BE49-F238E27FC236}">
                  <a16:creationId xmlns:a16="http://schemas.microsoft.com/office/drawing/2014/main" id="{B7AAC06E-FE29-4A90-8A58-D7446A2C4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38" y="797"/>
              <a:ext cx="3865" cy="2656"/>
            </a:xfrm>
            <a:custGeom>
              <a:avLst/>
              <a:gdLst>
                <a:gd name="T0" fmla="*/ 1575 w 1636"/>
                <a:gd name="T1" fmla="*/ 381 h 1124"/>
                <a:gd name="T2" fmla="*/ 978 w 1636"/>
                <a:gd name="T3" fmla="*/ 978 h 1124"/>
                <a:gd name="T4" fmla="*/ 685 w 1636"/>
                <a:gd name="T5" fmla="*/ 978 h 1124"/>
                <a:gd name="T6" fmla="*/ 174 w 1636"/>
                <a:gd name="T7" fmla="*/ 466 h 1124"/>
                <a:gd name="T8" fmla="*/ 174 w 1636"/>
                <a:gd name="T9" fmla="*/ 174 h 1124"/>
                <a:gd name="T10" fmla="*/ 466 w 1636"/>
                <a:gd name="T11" fmla="*/ 174 h 1124"/>
                <a:gd name="T12" fmla="*/ 832 w 1636"/>
                <a:gd name="T13" fmla="*/ 540 h 1124"/>
                <a:gd name="T14" fmla="*/ 1197 w 1636"/>
                <a:gd name="T15" fmla="*/ 174 h 1124"/>
                <a:gd name="T16" fmla="*/ 1489 w 1636"/>
                <a:gd name="T17" fmla="*/ 174 h 1124"/>
                <a:gd name="T18" fmla="*/ 1576 w 1636"/>
                <a:gd name="T19" fmla="*/ 261 h 1124"/>
                <a:gd name="T20" fmla="*/ 1636 w 1636"/>
                <a:gd name="T21" fmla="*/ 200 h 1124"/>
                <a:gd name="T22" fmla="*/ 1550 w 1636"/>
                <a:gd name="T23" fmla="*/ 114 h 1124"/>
                <a:gd name="T24" fmla="*/ 1137 w 1636"/>
                <a:gd name="T25" fmla="*/ 114 h 1124"/>
                <a:gd name="T26" fmla="*/ 832 w 1636"/>
                <a:gd name="T27" fmla="*/ 419 h 1124"/>
                <a:gd name="T28" fmla="*/ 526 w 1636"/>
                <a:gd name="T29" fmla="*/ 114 h 1124"/>
                <a:gd name="T30" fmla="*/ 113 w 1636"/>
                <a:gd name="T31" fmla="*/ 114 h 1124"/>
                <a:gd name="T32" fmla="*/ 113 w 1636"/>
                <a:gd name="T33" fmla="*/ 527 h 1124"/>
                <a:gd name="T34" fmla="*/ 625 w 1636"/>
                <a:gd name="T35" fmla="*/ 1038 h 1124"/>
                <a:gd name="T36" fmla="*/ 832 w 1636"/>
                <a:gd name="T37" fmla="*/ 1124 h 1124"/>
                <a:gd name="T38" fmla="*/ 1038 w 1636"/>
                <a:gd name="T39" fmla="*/ 1038 h 1124"/>
                <a:gd name="T40" fmla="*/ 1635 w 1636"/>
                <a:gd name="T41" fmla="*/ 441 h 1124"/>
                <a:gd name="T42" fmla="*/ 1575 w 1636"/>
                <a:gd name="T43" fmla="*/ 381 h 1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36" h="1124">
                  <a:moveTo>
                    <a:pt x="1575" y="381"/>
                  </a:moveTo>
                  <a:cubicBezTo>
                    <a:pt x="978" y="978"/>
                    <a:pt x="978" y="978"/>
                    <a:pt x="978" y="978"/>
                  </a:cubicBezTo>
                  <a:cubicBezTo>
                    <a:pt x="897" y="1059"/>
                    <a:pt x="766" y="1059"/>
                    <a:pt x="685" y="978"/>
                  </a:cubicBezTo>
                  <a:cubicBezTo>
                    <a:pt x="174" y="466"/>
                    <a:pt x="174" y="466"/>
                    <a:pt x="174" y="466"/>
                  </a:cubicBezTo>
                  <a:cubicBezTo>
                    <a:pt x="93" y="386"/>
                    <a:pt x="93" y="255"/>
                    <a:pt x="174" y="174"/>
                  </a:cubicBezTo>
                  <a:cubicBezTo>
                    <a:pt x="254" y="94"/>
                    <a:pt x="385" y="94"/>
                    <a:pt x="466" y="174"/>
                  </a:cubicBezTo>
                  <a:cubicBezTo>
                    <a:pt x="832" y="540"/>
                    <a:pt x="832" y="540"/>
                    <a:pt x="832" y="540"/>
                  </a:cubicBezTo>
                  <a:cubicBezTo>
                    <a:pt x="1197" y="174"/>
                    <a:pt x="1197" y="174"/>
                    <a:pt x="1197" y="174"/>
                  </a:cubicBezTo>
                  <a:cubicBezTo>
                    <a:pt x="1278" y="94"/>
                    <a:pt x="1409" y="94"/>
                    <a:pt x="1489" y="174"/>
                  </a:cubicBezTo>
                  <a:cubicBezTo>
                    <a:pt x="1576" y="261"/>
                    <a:pt x="1576" y="261"/>
                    <a:pt x="1576" y="261"/>
                  </a:cubicBezTo>
                  <a:cubicBezTo>
                    <a:pt x="1636" y="200"/>
                    <a:pt x="1636" y="200"/>
                    <a:pt x="1636" y="200"/>
                  </a:cubicBezTo>
                  <a:cubicBezTo>
                    <a:pt x="1550" y="114"/>
                    <a:pt x="1550" y="114"/>
                    <a:pt x="1550" y="114"/>
                  </a:cubicBezTo>
                  <a:cubicBezTo>
                    <a:pt x="1436" y="0"/>
                    <a:pt x="1251" y="0"/>
                    <a:pt x="1137" y="114"/>
                  </a:cubicBezTo>
                  <a:cubicBezTo>
                    <a:pt x="832" y="419"/>
                    <a:pt x="832" y="419"/>
                    <a:pt x="832" y="419"/>
                  </a:cubicBezTo>
                  <a:cubicBezTo>
                    <a:pt x="526" y="114"/>
                    <a:pt x="526" y="114"/>
                    <a:pt x="526" y="114"/>
                  </a:cubicBezTo>
                  <a:cubicBezTo>
                    <a:pt x="413" y="0"/>
                    <a:pt x="227" y="0"/>
                    <a:pt x="113" y="114"/>
                  </a:cubicBezTo>
                  <a:cubicBezTo>
                    <a:pt x="0" y="228"/>
                    <a:pt x="0" y="413"/>
                    <a:pt x="113" y="527"/>
                  </a:cubicBezTo>
                  <a:cubicBezTo>
                    <a:pt x="625" y="1038"/>
                    <a:pt x="625" y="1038"/>
                    <a:pt x="625" y="1038"/>
                  </a:cubicBezTo>
                  <a:cubicBezTo>
                    <a:pt x="682" y="1095"/>
                    <a:pt x="757" y="1124"/>
                    <a:pt x="832" y="1124"/>
                  </a:cubicBezTo>
                  <a:cubicBezTo>
                    <a:pt x="906" y="1124"/>
                    <a:pt x="981" y="1095"/>
                    <a:pt x="1038" y="1038"/>
                  </a:cubicBezTo>
                  <a:cubicBezTo>
                    <a:pt x="1635" y="441"/>
                    <a:pt x="1635" y="441"/>
                    <a:pt x="1635" y="441"/>
                  </a:cubicBezTo>
                  <a:lnTo>
                    <a:pt x="1575" y="381"/>
                  </a:lnTo>
                  <a:close/>
                </a:path>
              </a:pathLst>
            </a:custGeom>
            <a:solidFill>
              <a:srgbClr val="0642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74">
              <a:extLst>
                <a:ext uri="{FF2B5EF4-FFF2-40B4-BE49-F238E27FC236}">
                  <a16:creationId xmlns:a16="http://schemas.microsoft.com/office/drawing/2014/main" id="{97949A87-61F3-40CA-8177-C33DC75FDA9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77" y="797"/>
              <a:ext cx="3865" cy="2722"/>
            </a:xfrm>
            <a:custGeom>
              <a:avLst/>
              <a:gdLst>
                <a:gd name="T0" fmla="*/ 1523 w 1636"/>
                <a:gd name="T1" fmla="*/ 626 h 1152"/>
                <a:gd name="T2" fmla="*/ 1011 w 1636"/>
                <a:gd name="T3" fmla="*/ 114 h 1152"/>
                <a:gd name="T4" fmla="*/ 598 w 1636"/>
                <a:gd name="T5" fmla="*/ 114 h 1152"/>
                <a:gd name="T6" fmla="*/ 391 w 1636"/>
                <a:gd name="T7" fmla="*/ 321 h 1152"/>
                <a:gd name="T8" fmla="*/ 452 w 1636"/>
                <a:gd name="T9" fmla="*/ 381 h 1152"/>
                <a:gd name="T10" fmla="*/ 658 w 1636"/>
                <a:gd name="T11" fmla="*/ 174 h 1152"/>
                <a:gd name="T12" fmla="*/ 951 w 1636"/>
                <a:gd name="T13" fmla="*/ 174 h 1152"/>
                <a:gd name="T14" fmla="*/ 1462 w 1636"/>
                <a:gd name="T15" fmla="*/ 686 h 1152"/>
                <a:gd name="T16" fmla="*/ 1462 w 1636"/>
                <a:gd name="T17" fmla="*/ 978 h 1152"/>
                <a:gd name="T18" fmla="*/ 1170 w 1636"/>
                <a:gd name="T19" fmla="*/ 978 h 1152"/>
                <a:gd name="T20" fmla="*/ 804 w 1636"/>
                <a:gd name="T21" fmla="*/ 613 h 1152"/>
                <a:gd name="T22" fmla="*/ 439 w 1636"/>
                <a:gd name="T23" fmla="*/ 978 h 1152"/>
                <a:gd name="T24" fmla="*/ 147 w 1636"/>
                <a:gd name="T25" fmla="*/ 978 h 1152"/>
                <a:gd name="T26" fmla="*/ 60 w 1636"/>
                <a:gd name="T27" fmla="*/ 892 h 1152"/>
                <a:gd name="T28" fmla="*/ 0 w 1636"/>
                <a:gd name="T29" fmla="*/ 952 h 1152"/>
                <a:gd name="T30" fmla="*/ 86 w 1636"/>
                <a:gd name="T31" fmla="*/ 1038 h 1152"/>
                <a:gd name="T32" fmla="*/ 499 w 1636"/>
                <a:gd name="T33" fmla="*/ 1038 h 1152"/>
                <a:gd name="T34" fmla="*/ 804 w 1636"/>
                <a:gd name="T35" fmla="*/ 733 h 1152"/>
                <a:gd name="T36" fmla="*/ 1110 w 1636"/>
                <a:gd name="T37" fmla="*/ 1038 h 1152"/>
                <a:gd name="T38" fmla="*/ 1523 w 1636"/>
                <a:gd name="T39" fmla="*/ 1038 h 1152"/>
                <a:gd name="T40" fmla="*/ 1523 w 1636"/>
                <a:gd name="T41" fmla="*/ 626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36" h="1152">
                  <a:moveTo>
                    <a:pt x="1523" y="626"/>
                  </a:moveTo>
                  <a:cubicBezTo>
                    <a:pt x="1011" y="114"/>
                    <a:pt x="1011" y="114"/>
                    <a:pt x="1011" y="114"/>
                  </a:cubicBezTo>
                  <a:cubicBezTo>
                    <a:pt x="897" y="0"/>
                    <a:pt x="712" y="0"/>
                    <a:pt x="598" y="114"/>
                  </a:cubicBezTo>
                  <a:cubicBezTo>
                    <a:pt x="391" y="321"/>
                    <a:pt x="391" y="321"/>
                    <a:pt x="391" y="321"/>
                  </a:cubicBezTo>
                  <a:cubicBezTo>
                    <a:pt x="452" y="381"/>
                    <a:pt x="452" y="381"/>
                    <a:pt x="452" y="381"/>
                  </a:cubicBezTo>
                  <a:cubicBezTo>
                    <a:pt x="658" y="174"/>
                    <a:pt x="658" y="174"/>
                    <a:pt x="658" y="174"/>
                  </a:cubicBezTo>
                  <a:cubicBezTo>
                    <a:pt x="739" y="94"/>
                    <a:pt x="870" y="94"/>
                    <a:pt x="951" y="174"/>
                  </a:cubicBezTo>
                  <a:cubicBezTo>
                    <a:pt x="1462" y="686"/>
                    <a:pt x="1462" y="686"/>
                    <a:pt x="1462" y="686"/>
                  </a:cubicBezTo>
                  <a:cubicBezTo>
                    <a:pt x="1543" y="766"/>
                    <a:pt x="1543" y="898"/>
                    <a:pt x="1462" y="978"/>
                  </a:cubicBezTo>
                  <a:cubicBezTo>
                    <a:pt x="1382" y="1059"/>
                    <a:pt x="1251" y="1059"/>
                    <a:pt x="1170" y="978"/>
                  </a:cubicBezTo>
                  <a:cubicBezTo>
                    <a:pt x="804" y="613"/>
                    <a:pt x="804" y="613"/>
                    <a:pt x="804" y="613"/>
                  </a:cubicBezTo>
                  <a:cubicBezTo>
                    <a:pt x="439" y="978"/>
                    <a:pt x="439" y="978"/>
                    <a:pt x="439" y="978"/>
                  </a:cubicBezTo>
                  <a:cubicBezTo>
                    <a:pt x="358" y="1059"/>
                    <a:pt x="227" y="1059"/>
                    <a:pt x="147" y="978"/>
                  </a:cubicBezTo>
                  <a:cubicBezTo>
                    <a:pt x="60" y="892"/>
                    <a:pt x="60" y="892"/>
                    <a:pt x="60" y="892"/>
                  </a:cubicBezTo>
                  <a:cubicBezTo>
                    <a:pt x="0" y="952"/>
                    <a:pt x="0" y="952"/>
                    <a:pt x="0" y="952"/>
                  </a:cubicBezTo>
                  <a:cubicBezTo>
                    <a:pt x="86" y="1038"/>
                    <a:pt x="86" y="1038"/>
                    <a:pt x="86" y="1038"/>
                  </a:cubicBezTo>
                  <a:cubicBezTo>
                    <a:pt x="200" y="1152"/>
                    <a:pt x="385" y="1152"/>
                    <a:pt x="499" y="1038"/>
                  </a:cubicBezTo>
                  <a:cubicBezTo>
                    <a:pt x="804" y="733"/>
                    <a:pt x="804" y="733"/>
                    <a:pt x="804" y="733"/>
                  </a:cubicBezTo>
                  <a:cubicBezTo>
                    <a:pt x="1110" y="1038"/>
                    <a:pt x="1110" y="1038"/>
                    <a:pt x="1110" y="1038"/>
                  </a:cubicBezTo>
                  <a:cubicBezTo>
                    <a:pt x="1223" y="1152"/>
                    <a:pt x="1409" y="1152"/>
                    <a:pt x="1523" y="1038"/>
                  </a:cubicBezTo>
                  <a:cubicBezTo>
                    <a:pt x="1636" y="925"/>
                    <a:pt x="1636" y="739"/>
                    <a:pt x="1523" y="626"/>
                  </a:cubicBezTo>
                </a:path>
              </a:pathLst>
            </a:custGeom>
            <a:solidFill>
              <a:srgbClr val="55C0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15" name="Gerader Verbinder 29">
            <a:extLst>
              <a:ext uri="{FF2B5EF4-FFF2-40B4-BE49-F238E27FC236}">
                <a16:creationId xmlns:a16="http://schemas.microsoft.com/office/drawing/2014/main" id="{14997557-2A44-42F7-9905-31F48B88791D}"/>
              </a:ext>
            </a:extLst>
          </p:cNvPr>
          <p:cNvCxnSpPr>
            <a:cxnSpLocks/>
          </p:cNvCxnSpPr>
          <p:nvPr/>
        </p:nvCxnSpPr>
        <p:spPr>
          <a:xfrm flipV="1">
            <a:off x="695274" y="111125"/>
            <a:ext cx="0" cy="1364875"/>
          </a:xfrm>
          <a:prstGeom prst="line">
            <a:avLst/>
          </a:prstGeom>
          <a:ln w="19050">
            <a:solidFill>
              <a:srgbClr val="DB0A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42457215-C70D-422C-80B5-5F389187808C}"/>
              </a:ext>
            </a:extLst>
          </p:cNvPr>
          <p:cNvSpPr txBox="1">
            <a:spLocks/>
          </p:cNvSpPr>
          <p:nvPr/>
        </p:nvSpPr>
        <p:spPr>
          <a:xfrm>
            <a:off x="258946" y="111125"/>
            <a:ext cx="33244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887914-FE3A-4982-B75E-9108002A2ABF}" type="slidenum">
              <a:rPr lang="de-DE" smtClean="0">
                <a:solidFill>
                  <a:schemeClr val="tx2"/>
                </a:solidFill>
              </a:rPr>
              <a:pPr/>
              <a:t>‹#›</a:t>
            </a:fld>
            <a:endParaRPr lang="de-DE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40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</p:sldLayoutIdLst>
  <p:transition>
    <p:fade/>
  </p:transition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600"/>
        </a:spcBef>
        <a:buClr>
          <a:srgbClr val="55C0E9"/>
        </a:buClr>
        <a:buSzPct val="12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8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emf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ira.silvendoin@valmet-automotive.com" TargetMode="Externa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8800" y="1653763"/>
            <a:ext cx="10512000" cy="1846659"/>
          </a:xfrm>
        </p:spPr>
        <p:txBody>
          <a:bodyPr/>
          <a:lstStyle/>
          <a:p>
            <a:r>
              <a:rPr lang="en-US" dirty="0" err="1"/>
              <a:t>Työelämätaidot</a:t>
            </a:r>
            <a:r>
              <a:rPr lang="en-US" dirty="0"/>
              <a:t> – </a:t>
            </a:r>
            <a:r>
              <a:rPr lang="en-US" dirty="0" err="1"/>
              <a:t>opiskelijat</a:t>
            </a:r>
            <a:r>
              <a:rPr lang="en-US" dirty="0"/>
              <a:t> ja </a:t>
            </a:r>
            <a:r>
              <a:rPr lang="en-US" dirty="0" err="1"/>
              <a:t>vastavalmistuneet</a:t>
            </a:r>
            <a:r>
              <a:rPr lang="en-US" dirty="0"/>
              <a:t> </a:t>
            </a:r>
            <a:r>
              <a:rPr lang="en-US" dirty="0" err="1"/>
              <a:t>työelämässä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800" y="3816000"/>
            <a:ext cx="10512000" cy="215444"/>
          </a:xfrm>
        </p:spPr>
        <p:txBody>
          <a:bodyPr/>
          <a:lstStyle/>
          <a:p>
            <a:r>
              <a:rPr lang="en-GB" dirty="0"/>
              <a:t>Ira Silvendoi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99629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1F38D-6E75-AB0C-4CFD-7A0A2E7AE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622800"/>
            <a:ext cx="10515600" cy="677108"/>
          </a:xfrm>
        </p:spPr>
        <p:txBody>
          <a:bodyPr anchor="t">
            <a:normAutofit/>
          </a:bodyPr>
          <a:lstStyle/>
          <a:p>
            <a:r>
              <a:rPr lang="fi-FI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491F30-49EB-457B-87C8-CBD4D8648A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800" y="1807200"/>
            <a:ext cx="5148000" cy="4457075"/>
          </a:xfrm>
        </p:spPr>
        <p:txBody>
          <a:bodyPr>
            <a:normAutofit/>
          </a:bodyPr>
          <a:lstStyle/>
          <a:p>
            <a:r>
              <a:rPr lang="fi-FI" dirty="0">
                <a:latin typeface="Montserrat" panose="00000500000000000000" pitchFamily="2" charset="0"/>
              </a:rPr>
              <a:t>Työelämätarpeet yrityksen näkökulmasta </a:t>
            </a:r>
          </a:p>
          <a:p>
            <a:r>
              <a:rPr lang="fi-FI" dirty="0">
                <a:latin typeface="Montserrat" panose="00000500000000000000" pitchFamily="2" charset="0"/>
              </a:rPr>
              <a:t>Työelämätaidot, jotka korostuvat ja kasvavat nykyisessä työelämässä </a:t>
            </a:r>
          </a:p>
          <a:p>
            <a:r>
              <a:rPr lang="fi-FI" dirty="0">
                <a:latin typeface="Montserrat" panose="00000500000000000000" pitchFamily="2" charset="0"/>
              </a:rPr>
              <a:t>Meillä työuran aloittaneiden AMK-opiskelijoiden näkemykset siitä, miten opinnot valmistivat heitä työhö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AB4BDD-9FCE-5FD9-6D0D-C6F86A39B8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166" r="12667" b="1"/>
          <a:stretch/>
        </p:blipFill>
        <p:spPr>
          <a:xfrm>
            <a:off x="6482625" y="1558316"/>
            <a:ext cx="5148000" cy="4457075"/>
          </a:xfrm>
          <a:prstGeom prst="rect">
            <a:avLst/>
          </a:prstGeom>
          <a:noFill/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EBEE12-7AEB-4A74-62C8-72B0B25945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36000" y="6573600"/>
            <a:ext cx="2784000" cy="1404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300"/>
              <a:t>Date-Author</a:t>
            </a:r>
            <a:endParaRPr lang="en-US" sz="3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D44E75-63A0-3283-9D33-A3FBA597D2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38800" y="108000"/>
            <a:ext cx="28800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NTERNA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9860327-77D2-215B-10C3-A96A5F593E3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799" y="6408000"/>
            <a:ext cx="4680000" cy="123111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D46D84FB-F7D7-7B99-0D91-9E610B542C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200" y="6273800"/>
            <a:ext cx="10515600" cy="12311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35633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E27C9-EF1A-E08B-B84B-2592ECBE6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Esittely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3A73CF-F1E0-63A7-38CE-87792B3C2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5FB33B-49E0-E453-5F5A-5D13544301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E9FF483-8C80-49CA-9739-D37832B65D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7962" y="1778125"/>
            <a:ext cx="5400075" cy="4457075"/>
          </a:xfrm>
        </p:spPr>
        <p:txBody>
          <a:bodyPr/>
          <a:lstStyle/>
          <a:p>
            <a:r>
              <a:rPr lang="fi-FI" dirty="0">
                <a:latin typeface="Montserrat" panose="00000500000000000000" pitchFamily="2" charset="0"/>
              </a:rPr>
              <a:t>Ira Silvendoin, </a:t>
            </a:r>
            <a:r>
              <a:rPr lang="fi-FI" dirty="0" err="1">
                <a:latin typeface="Montserrat" panose="00000500000000000000" pitchFamily="2" charset="0"/>
              </a:rPr>
              <a:t>Turuust</a:t>
            </a:r>
            <a:endParaRPr lang="fi-FI" dirty="0">
              <a:latin typeface="Montserrat" panose="00000500000000000000" pitchFamily="2" charset="0"/>
            </a:endParaRPr>
          </a:p>
          <a:p>
            <a:r>
              <a:rPr lang="fi-FI" dirty="0">
                <a:latin typeface="Montserrat" panose="00000500000000000000" pitchFamily="2" charset="0"/>
              </a:rPr>
              <a:t>7 vuotta teknologiateollisuudessa, Valmet Automotivella</a:t>
            </a:r>
          </a:p>
          <a:p>
            <a:pPr lvl="2"/>
            <a:r>
              <a:rPr lang="fi-FI" dirty="0">
                <a:latin typeface="Montserrat" panose="00000500000000000000" pitchFamily="2" charset="0"/>
              </a:rPr>
              <a:t>”</a:t>
            </a:r>
            <a:r>
              <a:rPr lang="fi-FI" dirty="0" err="1">
                <a:latin typeface="Montserrat" panose="00000500000000000000" pitchFamily="2" charset="0"/>
              </a:rPr>
              <a:t>Trainee</a:t>
            </a:r>
            <a:r>
              <a:rPr lang="fi-FI" dirty="0">
                <a:latin typeface="Montserrat" panose="00000500000000000000" pitchFamily="2" charset="0"/>
              </a:rPr>
              <a:t> vuosimallia 2017” </a:t>
            </a:r>
          </a:p>
          <a:p>
            <a:pPr lvl="2"/>
            <a:r>
              <a:rPr lang="fi-FI" dirty="0">
                <a:latin typeface="Montserrat" panose="00000500000000000000" pitchFamily="2" charset="0"/>
              </a:rPr>
              <a:t>Nykyrooli: Henkilöstöjohtaja</a:t>
            </a:r>
          </a:p>
          <a:p>
            <a:r>
              <a:rPr lang="fi-FI" dirty="0">
                <a:latin typeface="Montserrat" panose="00000500000000000000" pitchFamily="2" charset="0"/>
              </a:rPr>
              <a:t>Yritysten ja korkeakoulujen välisten siltojen rakentaminen ollut isona intohimona pitkään</a:t>
            </a:r>
          </a:p>
          <a:p>
            <a:pPr lvl="2"/>
            <a:r>
              <a:rPr lang="fi-FI" dirty="0">
                <a:latin typeface="Montserrat" panose="00000500000000000000" pitchFamily="2" charset="0"/>
              </a:rPr>
              <a:t>Valmet Automotive Turun AMK:n strateginen kumppani</a:t>
            </a:r>
          </a:p>
          <a:p>
            <a:pPr marL="0" indent="0">
              <a:buNone/>
            </a:pPr>
            <a:endParaRPr lang="fi-FI" dirty="0">
              <a:latin typeface="Montserrat" panose="00000500000000000000" pitchFamily="2" charset="0"/>
            </a:endParaRPr>
          </a:p>
          <a:p>
            <a:endParaRPr lang="fi-FI" dirty="0">
              <a:latin typeface="Montserrat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367A49-15FA-B375-ED39-EA53513664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222"/>
          <a:stretch/>
        </p:blipFill>
        <p:spPr>
          <a:xfrm rot="307783">
            <a:off x="6511511" y="1513258"/>
            <a:ext cx="4948038" cy="3922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8005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F515E3B1-D621-829B-43A8-4793FBF77D3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243" b="7282"/>
          <a:stretch/>
        </p:blipFill>
        <p:spPr>
          <a:xfrm>
            <a:off x="5714759" y="0"/>
            <a:ext cx="6477242" cy="348395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57605B-0DE1-C8F2-891A-1BBA0A971F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E930320-2520-2219-3256-DB7EB72BBF2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31079" y="999450"/>
            <a:ext cx="4457700" cy="5202000"/>
          </a:xfrm>
        </p:spPr>
        <p:txBody>
          <a:bodyPr/>
          <a:lstStyle/>
          <a:p>
            <a:pPr marL="0" indent="0">
              <a:buNone/>
            </a:pPr>
            <a:r>
              <a:rPr lang="fi-FI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KIITOS, </a:t>
            </a:r>
          </a:p>
          <a:p>
            <a:pPr marL="0" indent="0">
              <a:buNone/>
            </a:pPr>
            <a:r>
              <a:rPr lang="fi-FI" sz="3600" b="1" dirty="0">
                <a:solidFill>
                  <a:schemeClr val="bg1"/>
                </a:solidFill>
                <a:latin typeface="Montserrat" panose="00000500000000000000" pitchFamily="2" charset="0"/>
              </a:rPr>
              <a:t>että valmistelette upeita nuoria työelämään</a:t>
            </a:r>
          </a:p>
          <a:p>
            <a:pPr marL="0" indent="0">
              <a:buNone/>
            </a:pPr>
            <a:endParaRPr lang="fi-FI" sz="3600" b="1" dirty="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marL="0" indent="0">
              <a:buNone/>
            </a:pPr>
            <a:r>
              <a:rPr lang="fi-FI" sz="1600" b="1" dirty="0">
                <a:solidFill>
                  <a:schemeClr val="bg1"/>
                </a:solidFill>
                <a:latin typeface="Montserrat" panose="00000500000000000000" pitchFamily="2" charset="0"/>
              </a:rPr>
              <a:t>Meillä on viimeisen 5 vuoden aikana aloittanut 180 korkeakouluharjoittelijaa, joista yli puolet ovat ammattikorkeakouluista.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3B5E1C4-2776-812A-54B4-03CE0CBECBEC}"/>
              </a:ext>
            </a:extLst>
          </p:cNvPr>
          <p:cNvGrpSpPr/>
          <p:nvPr/>
        </p:nvGrpSpPr>
        <p:grpSpPr>
          <a:xfrm>
            <a:off x="5714758" y="3143249"/>
            <a:ext cx="6477242" cy="3714750"/>
            <a:chOff x="6122031" y="3518206"/>
            <a:chExt cx="6069969" cy="333979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D96D785-23EF-B695-578B-B4D0B123B1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20000"/>
                      </a14:imgEffect>
                    </a14:imgLayer>
                  </a14:imgProps>
                </a:ext>
              </a:extLst>
            </a:blip>
            <a:srcRect t="20523" r="18748"/>
            <a:stretch/>
          </p:blipFill>
          <p:spPr>
            <a:xfrm>
              <a:off x="6122031" y="3518206"/>
              <a:ext cx="6069969" cy="3339794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F186299-4515-3F50-7853-4ECB227C3A0D}"/>
                </a:ext>
              </a:extLst>
            </p:cNvPr>
            <p:cNvSpPr/>
            <p:nvPr/>
          </p:nvSpPr>
          <p:spPr>
            <a:xfrm>
              <a:off x="8076669" y="3595321"/>
              <a:ext cx="638071" cy="333937"/>
            </a:xfrm>
            <a:prstGeom prst="rect">
              <a:avLst/>
            </a:prstGeom>
            <a:solidFill>
              <a:srgbClr val="BBABA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fi-FI" sz="1400" dirty="0" err="1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48217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158086" y="2012481"/>
            <a:ext cx="4183154" cy="3432822"/>
          </a:xfr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72000" rIns="36000" bIns="36000"/>
          <a:lstStyle/>
          <a:p>
            <a:pPr marL="0" indent="0" algn="ctr">
              <a:buNone/>
            </a:pPr>
            <a:r>
              <a:rPr lang="en-US" sz="2800" dirty="0">
                <a:latin typeface="+mj-lt"/>
              </a:rPr>
              <a:t>HARD SKILLS</a:t>
            </a:r>
          </a:p>
          <a:p>
            <a:pPr lvl="1"/>
            <a:r>
              <a:rPr lang="en-US" b="1" dirty="0" err="1">
                <a:latin typeface="Montserrat" panose="00000500000000000000" pitchFamily="2" charset="0"/>
              </a:rPr>
              <a:t>Ammatillinen</a:t>
            </a:r>
            <a:r>
              <a:rPr lang="en-US" b="1" dirty="0">
                <a:latin typeface="Montserrat" panose="00000500000000000000" pitchFamily="2" charset="0"/>
              </a:rPr>
              <a:t> </a:t>
            </a:r>
            <a:r>
              <a:rPr lang="en-US" b="1" dirty="0" err="1">
                <a:latin typeface="Montserrat" panose="00000500000000000000" pitchFamily="2" charset="0"/>
              </a:rPr>
              <a:t>osaaminen</a:t>
            </a:r>
            <a:r>
              <a:rPr lang="en-US" b="1" dirty="0">
                <a:latin typeface="Montserrat" panose="00000500000000000000" pitchFamily="2" charset="0"/>
              </a:rPr>
              <a:t> </a:t>
            </a:r>
          </a:p>
          <a:p>
            <a:pPr lvl="1"/>
            <a:r>
              <a:rPr lang="en-US" b="1" dirty="0" err="1">
                <a:latin typeface="Montserrat" panose="00000500000000000000" pitchFamily="2" charset="0"/>
              </a:rPr>
              <a:t>Liiketoimintaymmärrys</a:t>
            </a:r>
            <a:r>
              <a:rPr lang="en-US" b="1" dirty="0">
                <a:latin typeface="Montserrat" panose="00000500000000000000" pitchFamily="2" charset="0"/>
              </a:rPr>
              <a:t> ja </a:t>
            </a:r>
            <a:r>
              <a:rPr lang="en-US" b="1" dirty="0" err="1">
                <a:latin typeface="Montserrat" panose="00000500000000000000" pitchFamily="2" charset="0"/>
              </a:rPr>
              <a:t>kokonaisuuden</a:t>
            </a:r>
            <a:r>
              <a:rPr lang="en-US" b="1" dirty="0">
                <a:latin typeface="Montserrat" panose="00000500000000000000" pitchFamily="2" charset="0"/>
              </a:rPr>
              <a:t> </a:t>
            </a:r>
            <a:r>
              <a:rPr lang="en-US" b="1" dirty="0" err="1">
                <a:latin typeface="Montserrat" panose="00000500000000000000" pitchFamily="2" charset="0"/>
              </a:rPr>
              <a:t>hahmottaminen</a:t>
            </a:r>
            <a:r>
              <a:rPr lang="en-US" b="1" dirty="0">
                <a:latin typeface="Montserrat" panose="00000500000000000000" pitchFamily="2" charset="0"/>
              </a:rPr>
              <a:t> </a:t>
            </a:r>
          </a:p>
          <a:p>
            <a:pPr lvl="2"/>
            <a:r>
              <a:rPr lang="en-US" dirty="0">
                <a:latin typeface="Montserrat" panose="00000500000000000000" pitchFamily="2" charset="0"/>
              </a:rPr>
              <a:t>Kuinka </a:t>
            </a:r>
            <a:r>
              <a:rPr lang="en-US" dirty="0" err="1">
                <a:latin typeface="Montserrat" panose="00000500000000000000" pitchFamily="2" charset="0"/>
              </a:rPr>
              <a:t>yritys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pyörii</a:t>
            </a:r>
            <a:r>
              <a:rPr lang="en-US" dirty="0">
                <a:latin typeface="Montserrat" panose="00000500000000000000" pitchFamily="2" charset="0"/>
              </a:rPr>
              <a:t>, </a:t>
            </a:r>
            <a:r>
              <a:rPr lang="en-US" dirty="0" err="1">
                <a:latin typeface="Montserrat" panose="00000500000000000000" pitchFamily="2" charset="0"/>
              </a:rPr>
              <a:t>mistä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raha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tulee</a:t>
            </a:r>
            <a:r>
              <a:rPr lang="en-US" dirty="0">
                <a:latin typeface="Montserrat" panose="00000500000000000000" pitchFamily="2" charset="0"/>
              </a:rPr>
              <a:t> ja </a:t>
            </a:r>
            <a:r>
              <a:rPr lang="en-US" dirty="0" err="1">
                <a:latin typeface="Montserrat" panose="00000500000000000000" pitchFamily="2" charset="0"/>
              </a:rPr>
              <a:t>minne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sitä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menee</a:t>
            </a:r>
            <a:r>
              <a:rPr lang="en-US" dirty="0">
                <a:latin typeface="Montserrat" panose="00000500000000000000" pitchFamily="2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Arvoketju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ja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eri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osastoje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toiminna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ymmärrys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.</a:t>
            </a:r>
            <a:endParaRPr lang="en-US" b="1" dirty="0">
              <a:latin typeface="Montserrat" panose="00000500000000000000" pitchFamily="2" charset="0"/>
            </a:endParaRPr>
          </a:p>
          <a:p>
            <a:pPr lvl="1"/>
            <a:r>
              <a:rPr lang="en-US" b="1" dirty="0" err="1">
                <a:latin typeface="Montserrat" panose="00000500000000000000" pitchFamily="2" charset="0"/>
              </a:rPr>
              <a:t>Projektiosaaminen</a:t>
            </a:r>
            <a:endParaRPr lang="en-US" b="1" dirty="0">
              <a:latin typeface="Montserrat" panose="00000500000000000000" pitchFamily="2" charset="0"/>
            </a:endParaRPr>
          </a:p>
          <a:p>
            <a:pPr lvl="2"/>
            <a:r>
              <a:rPr lang="en-US" dirty="0" err="1">
                <a:latin typeface="Montserrat" panose="00000500000000000000" pitchFamily="2" charset="0"/>
              </a:rPr>
              <a:t>Sisäiset</a:t>
            </a:r>
            <a:r>
              <a:rPr lang="en-US" dirty="0">
                <a:latin typeface="Montserrat" panose="00000500000000000000" pitchFamily="2" charset="0"/>
              </a:rPr>
              <a:t> </a:t>
            </a:r>
            <a:r>
              <a:rPr lang="en-US" dirty="0" err="1">
                <a:latin typeface="Montserrat" panose="00000500000000000000" pitchFamily="2" charset="0"/>
              </a:rPr>
              <a:t>kehitysprojektit</a:t>
            </a:r>
            <a:r>
              <a:rPr lang="en-US" dirty="0">
                <a:latin typeface="Montserrat" panose="00000500000000000000" pitchFamily="2" charset="0"/>
              </a:rPr>
              <a:t>, </a:t>
            </a:r>
            <a:r>
              <a:rPr lang="en-US" dirty="0" err="1">
                <a:latin typeface="Montserrat" panose="00000500000000000000" pitchFamily="2" charset="0"/>
              </a:rPr>
              <a:t>asiakasprojektit</a:t>
            </a:r>
            <a:r>
              <a:rPr lang="en-US" dirty="0">
                <a:latin typeface="Montserrat" panose="00000500000000000000" pitchFamily="2" charset="0"/>
              </a:rPr>
              <a:t>…</a:t>
            </a:r>
            <a:endParaRPr lang="en-US" b="1" dirty="0">
              <a:latin typeface="Montserrat" panose="00000500000000000000" pitchFamily="2" charset="0"/>
            </a:endParaRPr>
          </a:p>
          <a:p>
            <a:pPr lvl="1"/>
            <a:r>
              <a:rPr lang="en-US" b="1" dirty="0" err="1">
                <a:latin typeface="Montserrat" panose="00000500000000000000" pitchFamily="2" charset="0"/>
              </a:rPr>
              <a:t>Kielitaito</a:t>
            </a:r>
            <a:r>
              <a:rPr lang="en-US" b="1" dirty="0">
                <a:latin typeface="Montserrat" panose="00000500000000000000" pitchFamily="2" charset="0"/>
              </a:rPr>
              <a:t>, </a:t>
            </a:r>
            <a:r>
              <a:rPr lang="en-US" b="1" dirty="0" err="1">
                <a:latin typeface="Montserrat" panose="00000500000000000000" pitchFamily="2" charset="0"/>
              </a:rPr>
              <a:t>tiedon</a:t>
            </a:r>
            <a:r>
              <a:rPr lang="en-US" b="1" dirty="0">
                <a:latin typeface="Montserrat" panose="00000500000000000000" pitchFamily="2" charset="0"/>
              </a:rPr>
              <a:t> </a:t>
            </a:r>
            <a:r>
              <a:rPr lang="en-US" b="1" dirty="0" err="1">
                <a:latin typeface="Montserrat" panose="00000500000000000000" pitchFamily="2" charset="0"/>
              </a:rPr>
              <a:t>jalostaminen</a:t>
            </a:r>
            <a:r>
              <a:rPr lang="en-US" b="1" dirty="0">
                <a:latin typeface="Montserrat" panose="00000500000000000000" pitchFamily="2" charset="0"/>
              </a:rPr>
              <a:t> &amp; </a:t>
            </a:r>
            <a:r>
              <a:rPr lang="en-US" b="1" dirty="0" err="1">
                <a:latin typeface="Montserrat" panose="00000500000000000000" pitchFamily="2" charset="0"/>
              </a:rPr>
              <a:t>esittäminen</a:t>
            </a:r>
            <a:endParaRPr lang="en-US" b="1" dirty="0">
              <a:latin typeface="Montserrat" panose="00000500000000000000" pitchFamily="2" charset="0"/>
            </a:endParaRPr>
          </a:p>
          <a:p>
            <a:pPr marL="180000" lvl="1" indent="0">
              <a:buNone/>
            </a:pPr>
            <a:endParaRPr lang="en-US" b="1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yöelämätarpeet</a:t>
            </a:r>
            <a:r>
              <a:rPr lang="en-US" dirty="0"/>
              <a:t> - </a:t>
            </a:r>
            <a:r>
              <a:rPr lang="en-US" dirty="0" err="1"/>
              <a:t>osaamise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D0670218-4DF2-420E-A115-B3F7AEF94CDA}"/>
              </a:ext>
            </a:extLst>
          </p:cNvPr>
          <p:cNvSpPr txBox="1">
            <a:spLocks/>
          </p:cNvSpPr>
          <p:nvPr/>
        </p:nvSpPr>
        <p:spPr>
          <a:xfrm>
            <a:off x="6846870" y="2012479"/>
            <a:ext cx="4393058" cy="3432822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36000" tIns="72000" rIns="36000" bIns="36000" rtlCol="0">
            <a:no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spcBef>
                <a:spcPts val="600"/>
              </a:spcBef>
              <a:buClr>
                <a:srgbClr val="55C0E9"/>
              </a:buClr>
              <a:buSzPct val="12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solidFill>
                  <a:schemeClr val="bg1"/>
                </a:solidFill>
                <a:latin typeface="+mj-lt"/>
              </a:rPr>
              <a:t>SOFT SKILLS</a:t>
            </a:r>
          </a:p>
          <a:p>
            <a:pPr lvl="1"/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Asenne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, </a:t>
            </a:r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asenne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 ja </a:t>
            </a:r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asenne</a:t>
            </a:r>
            <a:endParaRPr lang="en-US" b="1" dirty="0">
              <a:solidFill>
                <a:schemeClr val="bg1"/>
              </a:solidFill>
              <a:latin typeface="Montserrat" panose="00000500000000000000" pitchFamily="2" charset="0"/>
            </a:endParaRPr>
          </a:p>
          <a:p>
            <a:pPr lvl="1"/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Ihmisten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 ja </a:t>
            </a:r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itsensä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ymmärtäminen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2" charset="0"/>
              </a:rPr>
              <a:t>,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kohtaamine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vaikuttamine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 ja “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myymine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  <a:sym typeface="Wingdings" panose="05000000000000000000" pitchFamily="2" charset="2"/>
              </a:rPr>
              <a:t>”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</a:p>
          <a:p>
            <a:pPr lvl="1"/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Yhteistyötaidot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: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kukaa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ei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pärjää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yksin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.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Kaikki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mitä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teemme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, on </a:t>
            </a:r>
            <a:r>
              <a:rPr lang="en-US" dirty="0" err="1">
                <a:solidFill>
                  <a:schemeClr val="bg1"/>
                </a:solidFill>
                <a:latin typeface="Montserrat" panose="00000500000000000000" pitchFamily="2" charset="0"/>
              </a:rPr>
              <a:t>tiimityötä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.</a:t>
            </a:r>
          </a:p>
          <a:p>
            <a:pPr lvl="1"/>
            <a:r>
              <a:rPr lang="en-US" b="1" dirty="0" err="1">
                <a:solidFill>
                  <a:schemeClr val="bg1"/>
                </a:solidFill>
                <a:latin typeface="Montserrat" panose="00000500000000000000" pitchFamily="2" charset="0"/>
              </a:rPr>
              <a:t>Vastuunotto</a:t>
            </a:r>
            <a:r>
              <a:rPr lang="en-US" dirty="0">
                <a:solidFill>
                  <a:schemeClr val="bg1"/>
                </a:solidFill>
                <a:latin typeface="Montserrat" panose="00000500000000000000" pitchFamily="2" charset="0"/>
              </a:rPr>
              <a:t>, “lead at all levels”</a:t>
            </a:r>
          </a:p>
          <a:p>
            <a:pPr lvl="1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3DDBB9-115F-4D21-97DE-4F822640B939}"/>
              </a:ext>
            </a:extLst>
          </p:cNvPr>
          <p:cNvSpPr txBox="1"/>
          <p:nvPr/>
        </p:nvSpPr>
        <p:spPr>
          <a:xfrm>
            <a:off x="5722705" y="3039758"/>
            <a:ext cx="794535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i-FI" sz="6600" b="1" dirty="0"/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43947537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47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yöelämätaidot</a:t>
            </a:r>
            <a:r>
              <a:rPr lang="en-US" dirty="0"/>
              <a:t>, </a:t>
            </a:r>
            <a:r>
              <a:rPr lang="en-US" dirty="0" err="1"/>
              <a:t>jotka</a:t>
            </a:r>
            <a:r>
              <a:rPr lang="en-US" dirty="0"/>
              <a:t> </a:t>
            </a:r>
            <a:r>
              <a:rPr lang="en-US" dirty="0" err="1"/>
              <a:t>korostuvat</a:t>
            </a:r>
            <a:r>
              <a:rPr lang="en-US" dirty="0"/>
              <a:t> </a:t>
            </a:r>
            <a:r>
              <a:rPr lang="en-US" dirty="0" err="1"/>
              <a:t>yhä</a:t>
            </a:r>
            <a:r>
              <a:rPr lang="en-US" dirty="0"/>
              <a:t> </a:t>
            </a:r>
            <a:r>
              <a:rPr lang="en-US" dirty="0" err="1"/>
              <a:t>enemmä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DC1FD4-99B9-619A-0A02-686E075D84BA}"/>
              </a:ext>
            </a:extLst>
          </p:cNvPr>
          <p:cNvSpPr txBox="1"/>
          <p:nvPr/>
        </p:nvSpPr>
        <p:spPr>
          <a:xfrm>
            <a:off x="3007373" y="1680649"/>
            <a:ext cx="686646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b="1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Monimutkaisuuden ymmärtämi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keskeneräisyyden ja epätäydellisen sietäminen - emme tiedä oikeasti absoluuttista totuutta (yritys)maailmassa ja kaikkeen ei ole prosessimaista ratkaisu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ymmärrys siitä, mihin laajempaan kokonaisuuteen oma substanssialue linkitty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syy-seuraussuhteet, </a:t>
            </a:r>
            <a:r>
              <a:rPr lang="fi-FI" sz="1200" dirty="0" err="1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skenariointi</a:t>
            </a: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 </a:t>
            </a:r>
            <a:endParaRPr lang="fi-FI" sz="1200" dirty="0">
              <a:solidFill>
                <a:srgbClr val="000000"/>
              </a:solidFill>
              <a:effectLst/>
              <a:latin typeface="Montserrat" panose="00000500000000000000" pitchFamily="2" charset="0"/>
              <a:ea typeface="Times New Roman" panose="02020603050405020304" pitchFamily="18" charset="0"/>
            </a:endParaRPr>
          </a:p>
          <a:p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  <a:sym typeface="Wingdings" panose="05000000000000000000" pitchFamily="2" charset="2"/>
              </a:rPr>
              <a:t> </a:t>
            </a: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i</a:t>
            </a: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soon arvoon astuu kyky selkiyttää maailmaa. Kyky osata kysyä oikeat kysymykset.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15" name="Graphic 14" descr="Earth globe: Africa and Europe with solid fill">
            <a:extLst>
              <a:ext uri="{FF2B5EF4-FFF2-40B4-BE49-F238E27FC236}">
                <a16:creationId xmlns:a16="http://schemas.microsoft.com/office/drawing/2014/main" id="{A6AD07AF-8624-3229-BF02-7E6E796EBD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06904" y="1758310"/>
            <a:ext cx="677105" cy="67710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8EBE9AD-43CC-2607-405E-AB97AFE7BED0}"/>
              </a:ext>
            </a:extLst>
          </p:cNvPr>
          <p:cNvSpPr txBox="1"/>
          <p:nvPr/>
        </p:nvSpPr>
        <p:spPr>
          <a:xfrm>
            <a:off x="3007373" y="5092863"/>
            <a:ext cx="68664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r>
              <a:rPr lang="fi-FI" sz="1200" b="1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Kyky vaikuttaa ja tull</a:t>
            </a:r>
            <a:r>
              <a:rPr lang="fi-FI" sz="1200" b="1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a ymmärretyksi</a:t>
            </a:r>
            <a:endParaRPr lang="fi-FI" sz="1200" b="1" dirty="0">
              <a:solidFill>
                <a:srgbClr val="000000"/>
              </a:solidFill>
              <a:effectLst/>
              <a:latin typeface="Montserrat" panose="00000500000000000000" pitchFamily="2" charset="0"/>
              <a:ea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o</a:t>
            </a: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mien näkemysten, osaamisen ja ratkaisumallien ”myyminen” tai </a:t>
            </a:r>
            <a:r>
              <a:rPr lang="fi-FI" sz="1200" dirty="0" err="1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vakuuttaaminen</a:t>
            </a: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, argumentointi 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l"/>
            <a:endParaRPr lang="fi-FI" sz="1200" dirty="0" err="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121959E-59DD-F4B4-9DBF-7D290800FA5B}"/>
              </a:ext>
            </a:extLst>
          </p:cNvPr>
          <p:cNvSpPr txBox="1"/>
          <p:nvPr/>
        </p:nvSpPr>
        <p:spPr>
          <a:xfrm>
            <a:off x="3007373" y="2973311"/>
            <a:ext cx="68664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b="1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Itsensä johtaminen ja itsetuntem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itsensä tunteminen ja (työ)elämän sosiaalisissa verkoissa luoviminen: tunnetaidot, empatia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r>
              <a:rPr lang="fi-FI" sz="1200" dirty="0">
                <a:solidFill>
                  <a:srgbClr val="000000"/>
                </a:solidFill>
                <a:latin typeface="Montserrat" panose="00000500000000000000" pitchFamily="2" charset="0"/>
                <a:ea typeface="Times New Roman" panose="02020603050405020304" pitchFamily="18" charset="0"/>
              </a:rPr>
              <a:t>k</a:t>
            </a: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yky ymmärtää itsensä osana ryhmää: miten ja miksi toimin kuten toimin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hyvinvoinnin johtaminen, </a:t>
            </a:r>
            <a:r>
              <a:rPr lang="fi-FI" sz="1200" dirty="0" err="1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resilienssi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C7DD92-A228-B07B-1AEF-4508A7DB5B76}"/>
              </a:ext>
            </a:extLst>
          </p:cNvPr>
          <p:cNvSpPr txBox="1"/>
          <p:nvPr/>
        </p:nvSpPr>
        <p:spPr>
          <a:xfrm>
            <a:off x="3007373" y="4211475"/>
            <a:ext cx="686646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r>
              <a:rPr lang="fi-FI" sz="1200" b="1" dirty="0">
                <a:solidFill>
                  <a:srgbClr val="000000"/>
                </a:solidFill>
                <a:latin typeface="Montserrat" panose="00000500000000000000" pitchFamily="2" charset="0"/>
              </a:rPr>
              <a:t>Jatkuva oppimin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i-FI" sz="1200" dirty="0">
                <a:solidFill>
                  <a:srgbClr val="000000"/>
                </a:solidFill>
                <a:effectLst/>
                <a:latin typeface="Montserrat" panose="00000500000000000000" pitchFamily="2" charset="0"/>
                <a:ea typeface="Times New Roman" panose="02020603050405020304" pitchFamily="18" charset="0"/>
              </a:rPr>
              <a:t>oppimiskyky ja jatkuva oppiminen, oman osaamisen kehittäminen</a:t>
            </a:r>
            <a:endParaRPr lang="fi-FI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fi-FI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 </a:t>
            </a:r>
            <a:endParaRPr lang="fi-FI" sz="1200" dirty="0"/>
          </a:p>
        </p:txBody>
      </p:sp>
      <p:pic>
        <p:nvPicPr>
          <p:cNvPr id="20" name="Graphic 19" descr="Brain in head outline">
            <a:extLst>
              <a:ext uri="{FF2B5EF4-FFF2-40B4-BE49-F238E27FC236}">
                <a16:creationId xmlns:a16="http://schemas.microsoft.com/office/drawing/2014/main" id="{E6EDA397-FEF1-9C2F-4A03-257509980F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021747" y="4054878"/>
            <a:ext cx="677106" cy="677106"/>
          </a:xfrm>
          <a:prstGeom prst="rect">
            <a:avLst/>
          </a:prstGeom>
        </p:spPr>
      </p:pic>
      <p:pic>
        <p:nvPicPr>
          <p:cNvPr id="22" name="Graphic 21" descr="Smiling with hearts face outline with solid fill">
            <a:extLst>
              <a:ext uri="{FF2B5EF4-FFF2-40B4-BE49-F238E27FC236}">
                <a16:creationId xmlns:a16="http://schemas.microsoft.com/office/drawing/2014/main" id="{DF74AFFC-F1EB-2352-86CD-ED201747A87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21747" y="3006769"/>
            <a:ext cx="677107" cy="677107"/>
          </a:xfrm>
          <a:prstGeom prst="rect">
            <a:avLst/>
          </a:prstGeom>
        </p:spPr>
      </p:pic>
      <p:pic>
        <p:nvPicPr>
          <p:cNvPr id="24" name="Graphic 23" descr="Chat with solid fill">
            <a:extLst>
              <a:ext uri="{FF2B5EF4-FFF2-40B4-BE49-F238E27FC236}">
                <a16:creationId xmlns:a16="http://schemas.microsoft.com/office/drawing/2014/main" id="{B14F7B88-13F9-706D-3AC5-F9A168ECFB1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006904" y="4984419"/>
            <a:ext cx="712163" cy="71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34206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CAD260-0F51-0B47-9C94-88C478EF8E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622800"/>
            <a:ext cx="11067450" cy="615553"/>
          </a:xfrm>
        </p:spPr>
        <p:txBody>
          <a:bodyPr/>
          <a:lstStyle/>
          <a:p>
            <a:r>
              <a:rPr lang="fi-FI" sz="4000" dirty="0"/>
              <a:t>Ajatuksia meillä työuran aloittaneista, jotka ovat käyneet amk: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6846BB-4D9D-8CC9-EA75-99ABAE72EA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GB"/>
              <a:t>Date-Author</a:t>
            </a:r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2A0A04C-A452-CB39-244C-0973AABA1E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800" y="1685798"/>
            <a:ext cx="6905025" cy="4457075"/>
          </a:xfrm>
        </p:spPr>
        <p:txBody>
          <a:bodyPr/>
          <a:lstStyle/>
          <a:p>
            <a:pPr marL="180000" lvl="1" indent="0">
              <a:buNone/>
            </a:pPr>
            <a:r>
              <a:rPr lang="fi-FI" sz="1400" b="1" dirty="0">
                <a:latin typeface="Montserrat" panose="00000500000000000000" pitchFamily="2" charset="0"/>
              </a:rPr>
              <a:t>Työssä tarvittavat ”</a:t>
            </a:r>
            <a:r>
              <a:rPr lang="fi-FI" sz="1400" b="1" dirty="0" err="1">
                <a:latin typeface="Montserrat" panose="00000500000000000000" pitchFamily="2" charset="0"/>
              </a:rPr>
              <a:t>hard</a:t>
            </a:r>
            <a:r>
              <a:rPr lang="fi-FI" sz="1400" b="1" dirty="0">
                <a:latin typeface="Montserrat" panose="00000500000000000000" pitchFamily="2" charset="0"/>
              </a:rPr>
              <a:t> </a:t>
            </a:r>
            <a:r>
              <a:rPr lang="fi-FI" sz="1400" b="1" dirty="0" err="1">
                <a:latin typeface="Montserrat" panose="00000500000000000000" pitchFamily="2" charset="0"/>
              </a:rPr>
              <a:t>skillit</a:t>
            </a:r>
            <a:r>
              <a:rPr lang="fi-FI" sz="1400" b="1" dirty="0">
                <a:latin typeface="Montserrat" panose="00000500000000000000" pitchFamily="2" charset="0"/>
              </a:rPr>
              <a:t>” on hallussa 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Siitä on ollut hyötyä että koulusta sai insinöörimäisen ajattelutavan, syy-seuraus –ajattelun, analyyttisyyden ja faktan perustuvuuden.”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Sain viitekehyksen siitä että miten näen teknisen ja teolliset alat että mitä niihin ylipäätään kuuluu”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Kävin tuotantotalouden linjan ja se antoi hyvät edellytykset toimia tällä projekti-insinöörinä.”</a:t>
            </a:r>
          </a:p>
          <a:p>
            <a:pPr marL="180000" lvl="1" indent="0">
              <a:buNone/>
            </a:pPr>
            <a:endParaRPr lang="fi-FI" i="1" dirty="0">
              <a:latin typeface="Montserrat" panose="00000500000000000000" pitchFamily="2" charset="0"/>
            </a:endParaRPr>
          </a:p>
          <a:p>
            <a:pPr marL="180000" lvl="1" indent="0">
              <a:buNone/>
            </a:pPr>
            <a:r>
              <a:rPr lang="fi-FI" sz="1400" b="1" dirty="0">
                <a:latin typeface="Montserrat" panose="00000500000000000000" pitchFamily="2" charset="0"/>
              </a:rPr>
              <a:t>Uramahdollisuudet ja ymmärrys siitä, mihin omalla osaamisella voi työllistyä, kaipaa vielä lisää työtä  </a:t>
            </a:r>
          </a:p>
          <a:p>
            <a:pPr lvl="1"/>
            <a:r>
              <a:rPr lang="fi-FI" sz="1400" i="1" dirty="0">
                <a:latin typeface="Montserrat" panose="00000500000000000000" pitchFamily="2" charset="0"/>
              </a:rPr>
              <a:t>”</a:t>
            </a:r>
            <a:r>
              <a:rPr lang="fi-FI" sz="1200" i="1" dirty="0">
                <a:latin typeface="Montserrat" panose="00000500000000000000" pitchFamily="2" charset="0"/>
              </a:rPr>
              <a:t>Meillä jotenkin oli se ilmapiiri että kaikki tekee harkan johonkin </a:t>
            </a:r>
            <a:r>
              <a:rPr lang="fi-FI" sz="1200" i="1" dirty="0" err="1">
                <a:latin typeface="Montserrat" panose="00000500000000000000" pitchFamily="2" charset="0"/>
              </a:rPr>
              <a:t>AD:n</a:t>
            </a:r>
            <a:r>
              <a:rPr lang="fi-FI" sz="1200" i="1" dirty="0">
                <a:latin typeface="Montserrat" panose="00000500000000000000" pitchFamily="2" charset="0"/>
              </a:rPr>
              <a:t> palvelutiskille – että meidän tutkinnolla ei muuta kannata tavoitella”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Ei ollut ne yritykset tai uramahdollisuudet selvillä mihin voi mennä. Nesteellä käytiin kerran vierailulla opintojen aikana.”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Meidän vuosikurssilta vain kaksi tekee suunnittelijan töitä, vaikka periaatteessa ymmärrys autoista on täydellinen pohja tähän työhön”</a:t>
            </a:r>
          </a:p>
          <a:p>
            <a:pPr lvl="1"/>
            <a:r>
              <a:rPr lang="fi-FI" sz="1200" i="1" dirty="0">
                <a:latin typeface="Montserrat" panose="00000500000000000000" pitchFamily="2" charset="0"/>
              </a:rPr>
              <a:t>”Ihan </a:t>
            </a:r>
            <a:r>
              <a:rPr lang="fi-FI" sz="1200" i="1" dirty="0" err="1">
                <a:latin typeface="Montserrat" panose="00000500000000000000" pitchFamily="2" charset="0"/>
              </a:rPr>
              <a:t>hirveesti</a:t>
            </a:r>
            <a:r>
              <a:rPr lang="fi-FI" sz="1200" i="1" dirty="0">
                <a:latin typeface="Montserrat" panose="00000500000000000000" pitchFamily="2" charset="0"/>
              </a:rPr>
              <a:t> ei kerrota että mihin tradenomi voisi työllistä tai mitä työtehtäviä tehdä.”</a:t>
            </a:r>
          </a:p>
          <a:p>
            <a:pPr marL="180000" lvl="1" indent="0">
              <a:buNone/>
            </a:pPr>
            <a:endParaRPr lang="fi-FI" dirty="0">
              <a:latin typeface="Montserrat" panose="00000500000000000000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238A47-D997-7A94-C562-38B2600E626B}"/>
              </a:ext>
            </a:extLst>
          </p:cNvPr>
          <p:cNvSpPr txBox="1"/>
          <p:nvPr/>
        </p:nvSpPr>
        <p:spPr>
          <a:xfrm>
            <a:off x="8204834" y="1748087"/>
            <a:ext cx="3514725" cy="41101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72000" tIns="72000" rIns="36000" bIns="36000" rtlCol="0">
            <a:spAutoFit/>
          </a:bodyPr>
          <a:lstStyle/>
          <a:p>
            <a:pPr indent="-277200"/>
            <a:r>
              <a:rPr lang="fi-FI" sz="2000" b="1" dirty="0">
                <a:latin typeface="Montserrat" panose="00000500000000000000" pitchFamily="2" charset="0"/>
                <a:sym typeface="Wingdings" panose="05000000000000000000" pitchFamily="2" charset="2"/>
              </a:rPr>
              <a:t> </a:t>
            </a:r>
            <a:r>
              <a:rPr lang="fi-FI" b="1" dirty="0">
                <a:latin typeface="Montserrat" panose="00000500000000000000" pitchFamily="2" charset="0"/>
              </a:rPr>
              <a:t>Empowerment</a:t>
            </a:r>
          </a:p>
          <a:p>
            <a:endParaRPr lang="fi-FI" sz="1400" dirty="0">
              <a:latin typeface="Montserrat" panose="00000500000000000000" pitchFamily="2" charset="0"/>
            </a:endParaRPr>
          </a:p>
          <a:p>
            <a:r>
              <a:rPr lang="fi-FI" sz="1400" dirty="0">
                <a:latin typeface="Montserrat" panose="00000500000000000000" pitchFamily="2" charset="0"/>
              </a:rPr>
              <a:t>Ammatillisen osaamisen lisäksi </a:t>
            </a:r>
            <a:r>
              <a:rPr lang="fi-FI" sz="1400" b="1" dirty="0" err="1">
                <a:latin typeface="Montserrat" panose="00000500000000000000" pitchFamily="2" charset="0"/>
              </a:rPr>
              <a:t>mindsetillä</a:t>
            </a:r>
            <a:r>
              <a:rPr lang="fi-FI" sz="1400" b="1" dirty="0">
                <a:latin typeface="Montserrat" panose="00000500000000000000" pitchFamily="2" charset="0"/>
              </a:rPr>
              <a:t> on väliä</a:t>
            </a:r>
            <a:r>
              <a:rPr lang="fi-FI" sz="1400" dirty="0">
                <a:latin typeface="Montserrat" panose="00000500000000000000" pitchFamily="2" charset="0"/>
              </a:rPr>
              <a:t>: opiskelijat ovat koulutuksenne &amp; erityisesti ryhmän ilmapiirin tuotteita </a:t>
            </a:r>
            <a:r>
              <a:rPr lang="fi-FI" sz="1400" dirty="0">
                <a:latin typeface="Montserrat" panose="00000500000000000000" pitchFamily="2" charset="0"/>
                <a:sym typeface="Wingdings" panose="05000000000000000000" pitchFamily="2" charset="2"/>
              </a:rPr>
              <a:t> millainen ilmapiiri on läsnä?</a:t>
            </a:r>
          </a:p>
          <a:p>
            <a:endParaRPr lang="fi-FI" b="1" dirty="0">
              <a:latin typeface="Montserrat" panose="00000500000000000000" pitchFamily="2" charset="0"/>
              <a:sym typeface="Wingdings" panose="05000000000000000000" pitchFamily="2" charset="2"/>
            </a:endParaRPr>
          </a:p>
          <a:p>
            <a:r>
              <a:rPr lang="fi-FI" b="1" dirty="0">
                <a:latin typeface="Montserrat" panose="00000500000000000000" pitchFamily="2" charset="0"/>
                <a:sym typeface="Wingdings" panose="05000000000000000000" pitchFamily="2" charset="2"/>
              </a:rPr>
              <a:t> Oman osaamisen mahdollisuudet työelämässä</a:t>
            </a:r>
          </a:p>
          <a:p>
            <a:endParaRPr lang="fi-FI" sz="1400" dirty="0">
              <a:latin typeface="Montserrat" panose="00000500000000000000" pitchFamily="2" charset="0"/>
              <a:sym typeface="Wingdings" panose="05000000000000000000" pitchFamily="2" charset="2"/>
            </a:endParaRPr>
          </a:p>
          <a:p>
            <a:r>
              <a:rPr lang="fi-FI" sz="1400" dirty="0">
                <a:latin typeface="Montserrat" panose="00000500000000000000" pitchFamily="2" charset="0"/>
              </a:rPr>
              <a:t>Työelämän linkeille on kaipuu</a:t>
            </a:r>
          </a:p>
          <a:p>
            <a:r>
              <a:rPr lang="fi-FI" sz="1400" dirty="0">
                <a:latin typeface="Montserrat" panose="00000500000000000000" pitchFamily="2" charset="0"/>
              </a:rPr>
              <a:t>Yritykset läsnä opiskeluun vielä enemmän uratarinoina, </a:t>
            </a:r>
            <a:r>
              <a:rPr lang="fi-FI" sz="1400" dirty="0" err="1">
                <a:latin typeface="Montserrat" panose="00000500000000000000" pitchFamily="2" charset="0"/>
              </a:rPr>
              <a:t>caseina</a:t>
            </a:r>
            <a:r>
              <a:rPr lang="fi-FI" sz="1400" dirty="0">
                <a:latin typeface="Montserrat" panose="00000500000000000000" pitchFamily="2" charset="0"/>
              </a:rPr>
              <a:t>, vierailuna, asiantuntijaluentoina </a:t>
            </a:r>
          </a:p>
          <a:p>
            <a:pPr algn="l"/>
            <a:endParaRPr lang="fi-FI" sz="1400" dirty="0" err="1">
              <a:latin typeface="Montserra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227717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873344" y="2129778"/>
            <a:ext cx="4603750" cy="3976188"/>
          </a:xfrm>
        </p:spPr>
        <p:txBody>
          <a:bodyPr/>
          <a:lstStyle/>
          <a:p>
            <a:r>
              <a:rPr lang="en-US" b="1" dirty="0"/>
              <a:t>Ira Silvendoin</a:t>
            </a:r>
          </a:p>
          <a:p>
            <a:r>
              <a:rPr lang="en-US" dirty="0"/>
              <a:t>Director, People &amp; Internal Communications</a:t>
            </a:r>
          </a:p>
          <a:p>
            <a:r>
              <a:rPr lang="en-US" dirty="0">
                <a:solidFill>
                  <a:schemeClr val="bg2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a.silvendoin@valmet-automotive.com</a:t>
            </a:r>
            <a:endParaRPr lang="en-US" dirty="0">
              <a:solidFill>
                <a:schemeClr val="bg2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7159429" y="1869719"/>
            <a:ext cx="4603750" cy="3046988"/>
          </a:xfrm>
        </p:spPr>
        <p:txBody>
          <a:bodyPr/>
          <a:lstStyle/>
          <a:p>
            <a:endParaRPr lang="en-US" sz="2000" dirty="0"/>
          </a:p>
          <a:p>
            <a:r>
              <a:rPr lang="en-US" sz="3200" dirty="0">
                <a:latin typeface="+mj-lt"/>
              </a:rPr>
              <a:t>LET’S KEEP IN TOUCH! </a:t>
            </a:r>
          </a:p>
          <a:p>
            <a:r>
              <a:rPr lang="en-US" sz="3200" dirty="0">
                <a:latin typeface="+mj-lt"/>
              </a:rPr>
              <a:t>CONTACT ME ON LINKEDIN!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7617665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46591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QA289ucoztIGhIMXZZ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lmet Automotive Presentation">
  <a:themeElements>
    <a:clrScheme name="VA colors">
      <a:dk1>
        <a:srgbClr val="1C252C"/>
      </a:dk1>
      <a:lt1>
        <a:srgbClr val="FFFFFF"/>
      </a:lt1>
      <a:dk2>
        <a:srgbClr val="DB0A33"/>
      </a:dk2>
      <a:lt2>
        <a:srgbClr val="55C0E9"/>
      </a:lt2>
      <a:accent1>
        <a:srgbClr val="06426A"/>
      </a:accent1>
      <a:accent2>
        <a:srgbClr val="55C0E9"/>
      </a:accent2>
      <a:accent3>
        <a:srgbClr val="E9531D"/>
      </a:accent3>
      <a:accent4>
        <a:srgbClr val="743D90"/>
      </a:accent4>
      <a:accent5>
        <a:srgbClr val="56BCB5"/>
      </a:accent5>
      <a:accent6>
        <a:srgbClr val="C7C7C8"/>
      </a:accent6>
      <a:hlink>
        <a:srgbClr val="06426A"/>
      </a:hlink>
      <a:folHlink>
        <a:srgbClr val="55C0E9"/>
      </a:folHlink>
    </a:clrScheme>
    <a:fontScheme name="VA fonts">
      <a:majorFont>
        <a:latin typeface="Teko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9050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lmet Automotive Sample Slides.potx" id="{4B2F742F-FB65-4C1C-92EE-2C66E071A1F3}" vid="{0A80B2F8-A31D-4222-AE90-7538E74CD56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FE9A02546F9240BE743A4E0AD9B7EE" ma:contentTypeVersion="0" ma:contentTypeDescription="Create a new document." ma:contentTypeScope="" ma:versionID="6fdd2ea4b1498e4d339da589da843f7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BED92D-7E78-4CE7-98EF-5F20E64339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EA259ED-8663-47F4-8099-25481CEAA958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3D81C2F-2BB7-4F8B-95DB-F5827DA4BDA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7</Words>
  <Application>Microsoft Office PowerPoint</Application>
  <PresentationFormat>Widescreen</PresentationFormat>
  <Paragraphs>83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</vt:lpstr>
      <vt:lpstr>Calibri</vt:lpstr>
      <vt:lpstr>Montserrat</vt:lpstr>
      <vt:lpstr>Segoe</vt:lpstr>
      <vt:lpstr>Segoe UI</vt:lpstr>
      <vt:lpstr>Teko</vt:lpstr>
      <vt:lpstr>Valmet Automotive Presentation</vt:lpstr>
      <vt:lpstr>think-cell Slide</vt:lpstr>
      <vt:lpstr>Työelämätaidot – opiskelijat ja vastavalmistuneet työelämässä</vt:lpstr>
      <vt:lpstr>agenda</vt:lpstr>
      <vt:lpstr>Esittely </vt:lpstr>
      <vt:lpstr>PowerPoint Presentation</vt:lpstr>
      <vt:lpstr>Työelämätarpeet - osaamiset</vt:lpstr>
      <vt:lpstr>Työelämätaidot, jotka korostuvat yhä enemmän</vt:lpstr>
      <vt:lpstr>Ajatuksia meillä työuran aloittaneista, jotka ovat käyneet amk:n</vt:lpstr>
      <vt:lpstr>PowerPoint Presentation</vt:lpstr>
      <vt:lpstr>PowerPoint Presentation</vt:lpstr>
    </vt:vector>
  </TitlesOfParts>
  <Company>Valmet Automot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run amk:n opettajat</dc:title>
  <dc:creator>Silvendoin Ira</dc:creator>
  <cp:lastModifiedBy>Silvendoin Ira</cp:lastModifiedBy>
  <cp:revision>28</cp:revision>
  <dcterms:created xsi:type="dcterms:W3CDTF">2019-10-28T09:51:07Z</dcterms:created>
  <dcterms:modified xsi:type="dcterms:W3CDTF">2024-03-12T11:5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FE9A02546F9240BE743A4E0AD9B7EE</vt:lpwstr>
  </property>
</Properties>
</file>